
<file path=[Content_Types].xml><?xml version="1.0" encoding="utf-8"?>
<Types xmlns="http://schemas.openxmlformats.org/package/2006/content-types">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 id="2147483670" r:id="rId5"/>
  </p:sldMasterIdLst>
  <p:notesMasterIdLst>
    <p:notesMasterId r:id="rId47"/>
  </p:notes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356" r:id="rId19"/>
    <p:sldId id="357" r:id="rId20"/>
    <p:sldId id="272" r:id="rId21"/>
    <p:sldId id="273" r:id="rId22"/>
    <p:sldId id="274" r:id="rId23"/>
    <p:sldId id="275" r:id="rId24"/>
    <p:sldId id="276" r:id="rId25"/>
    <p:sldId id="277" r:id="rId26"/>
    <p:sldId id="360" r:id="rId27"/>
    <p:sldId id="279" r:id="rId28"/>
    <p:sldId id="280" r:id="rId29"/>
    <p:sldId id="281" r:id="rId30"/>
    <p:sldId id="282" r:id="rId31"/>
    <p:sldId id="283" r:id="rId32"/>
    <p:sldId id="284" r:id="rId33"/>
    <p:sldId id="285" r:id="rId34"/>
    <p:sldId id="286" r:id="rId35"/>
    <p:sldId id="287" r:id="rId36"/>
    <p:sldId id="288" r:id="rId37"/>
    <p:sldId id="361" r:id="rId38"/>
    <p:sldId id="289" r:id="rId39"/>
    <p:sldId id="358" r:id="rId40"/>
    <p:sldId id="290" r:id="rId41"/>
    <p:sldId id="291" r:id="rId42"/>
    <p:sldId id="292" r:id="rId43"/>
    <p:sldId id="293" r:id="rId44"/>
    <p:sldId id="294" r:id="rId45"/>
    <p:sldId id="295" r:id="rId46"/>
  </p:sldIdLst>
  <p:sldSz cx="12192000" cy="6858000"/>
  <p:notesSz cx="6858000" cy="9144000"/>
  <p:embeddedFontLst>
    <p:embeddedFont>
      <p:font typeface="Montserrat" panose="00000500000000000000" pitchFamily="2" charset="0"/>
      <p:regular r:id="rId48"/>
      <p:bold r:id="rId49"/>
      <p:italic r:id="rId50"/>
      <p:boldItalic r:id="rId51"/>
    </p:embeddedFont>
    <p:embeddedFont>
      <p:font typeface="Open Sans" panose="020B0606030504020204" pitchFamily="34" charset="0"/>
      <p:regular r:id="rId52"/>
      <p:bold r:id="rId53"/>
      <p:italic r:id="rId54"/>
      <p:boldItalic r:id="rId55"/>
    </p:embeddedFont>
    <p:embeddedFont>
      <p:font typeface="Poppins" panose="00000500000000000000" pitchFamily="2" charset="0"/>
      <p:regular r:id="rId56"/>
      <p:bold r:id="rId57"/>
      <p:italic r:id="rId58"/>
      <p:boldItalic r:id="rId59"/>
    </p:embeddedFont>
    <p:embeddedFont>
      <p:font typeface="Poppins Light" panose="00000400000000000000" pitchFamily="2" charset="0"/>
      <p:regular r:id="rId60"/>
      <p:bold r:id="rId61"/>
      <p:italic r:id="rId62"/>
      <p:boldItalic r:id="rId63"/>
    </p:embeddedFont>
    <p:embeddedFont>
      <p:font typeface="Raleway" pitchFamily="2" charset="0"/>
      <p:regular r:id="rId64"/>
      <p:bold r:id="rId65"/>
      <p:italic r:id="rId66"/>
      <p:boldItalic r:id="rId67"/>
    </p:embeddedFont>
    <p:embeddedFont>
      <p:font typeface="Roboto" panose="02000000000000000000" pitchFamily="2" charset="0"/>
      <p:regular r:id="rId68"/>
      <p:bold r:id="rId69"/>
      <p:italic r:id="rId70"/>
      <p:boldItalic r:id="rId7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76" roundtripDataSignature="AMtx7mibMIx3fjl+/eO0q0XaRbNQq+tbM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99"/>
    <a:srgbClr val="C0C0C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7B8129-5E6D-9614-A925-A3BB144C3472}" v="85" dt="2025-06-11T16:39:28.3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notesMaster" Target="notesMasters/notesMaster1.xml"/><Relationship Id="rId63" Type="http://schemas.openxmlformats.org/officeDocument/2006/relationships/font" Target="fonts/font16.fntdata"/><Relationship Id="rId68" Type="http://schemas.openxmlformats.org/officeDocument/2006/relationships/font" Target="fonts/font21.fntdata"/><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6.fntdata"/><Relationship Id="rId58" Type="http://schemas.openxmlformats.org/officeDocument/2006/relationships/font" Target="fonts/font11.fntdata"/><Relationship Id="rId66" Type="http://schemas.openxmlformats.org/officeDocument/2006/relationships/font" Target="fonts/font19.fntdata"/><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font" Target="fonts/font14.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font" Target="fonts/font17.fntdata"/><Relationship Id="rId69" Type="http://schemas.openxmlformats.org/officeDocument/2006/relationships/font" Target="fonts/font22.fntdata"/><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font" Target="fonts/font4.fntdata"/><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12.fntdata"/><Relationship Id="rId67" Type="http://schemas.openxmlformats.org/officeDocument/2006/relationships/font" Target="fonts/font20.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7.fntdata"/><Relationship Id="rId62" Type="http://schemas.openxmlformats.org/officeDocument/2006/relationships/font" Target="fonts/font15.fntdata"/><Relationship Id="rId70" Type="http://schemas.openxmlformats.org/officeDocument/2006/relationships/font" Target="fonts/font23.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2.fntdata"/><Relationship Id="rId57" Type="http://schemas.openxmlformats.org/officeDocument/2006/relationships/font" Target="fonts/font10.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5.fntdata"/><Relationship Id="rId60" Type="http://schemas.openxmlformats.org/officeDocument/2006/relationships/font" Target="fonts/font13.fntdata"/><Relationship Id="rId65" Type="http://schemas.openxmlformats.org/officeDocument/2006/relationships/font" Target="fonts/font18.fntdata"/><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font" Target="fonts/font3.fntdata"/><Relationship Id="rId55" Type="http://schemas.openxmlformats.org/officeDocument/2006/relationships/font" Target="fonts/font8.fntdata"/><Relationship Id="rId76" Type="http://customschemas.google.com/relationships/presentationmetadata" Target="metadata"/><Relationship Id="rId7" Type="http://schemas.openxmlformats.org/officeDocument/2006/relationships/slide" Target="slides/slide2.xml"/><Relationship Id="rId71" Type="http://schemas.openxmlformats.org/officeDocument/2006/relationships/font" Target="fonts/font24.fntdata"/><Relationship Id="rId2" Type="http://schemas.openxmlformats.org/officeDocument/2006/relationships/customXml" Target="../customXml/item2.xml"/><Relationship Id="rId29" Type="http://schemas.openxmlformats.org/officeDocument/2006/relationships/slide" Target="slides/slide2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 name="Google Shape;64;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global-connections_4103204.htm#query=global&amp;position=8&amp;from_view=search</a:t>
            </a:r>
            <a:endParaRPr/>
          </a:p>
        </p:txBody>
      </p:sp>
      <p:sp>
        <p:nvSpPr>
          <p:cNvPr id="65" name="Google Shape;65;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7"/>
        <p:cNvGrpSpPr/>
        <p:nvPr/>
      </p:nvGrpSpPr>
      <p:grpSpPr>
        <a:xfrm>
          <a:off x="0" y="0"/>
          <a:ext cx="0" cy="0"/>
          <a:chOff x="0" y="0"/>
          <a:chExt cx="0" cy="0"/>
        </a:xfrm>
      </p:grpSpPr>
      <p:sp>
        <p:nvSpPr>
          <p:cNvPr id="398" name="Google Shape;39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9" name="Google Shape;39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workman-store-house-orange-helmet_16934276.htm?query=engineering%20industrial%20training&amp;collectionId=1525&amp;&amp;position=29&amp;from_view=collections</a:t>
            </a:r>
            <a:endParaRPr/>
          </a:p>
        </p:txBody>
      </p:sp>
      <p:sp>
        <p:nvSpPr>
          <p:cNvPr id="400" name="Google Shape;400;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5" name="Google Shape;425;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nl.freepik.com/vrije-photo/digitaal-scherm-met-omgevingsdag_12976397.htm#query=eco%20wereldbol&amp;position=16&amp;from_view=keyword</a:t>
            </a:r>
            <a:endParaRPr/>
          </a:p>
        </p:txBody>
      </p:sp>
      <p:sp>
        <p:nvSpPr>
          <p:cNvPr id="426" name="Google Shape;426;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54" name="Google Shape;454;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4"/>
        <p:cNvGrpSpPr/>
        <p:nvPr/>
      </p:nvGrpSpPr>
      <p:grpSpPr>
        <a:xfrm>
          <a:off x="0" y="0"/>
          <a:ext cx="0" cy="0"/>
          <a:chOff x="0" y="0"/>
          <a:chExt cx="0" cy="0"/>
        </a:xfrm>
      </p:grpSpPr>
      <p:sp>
        <p:nvSpPr>
          <p:cNvPr id="495" name="Google Shape;495;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96" name="Google Shape;496;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0"/>
        <p:cNvGrpSpPr/>
        <p:nvPr/>
      </p:nvGrpSpPr>
      <p:grpSpPr>
        <a:xfrm>
          <a:off x="0" y="0"/>
          <a:ext cx="0" cy="0"/>
          <a:chOff x="0" y="0"/>
          <a:chExt cx="0" cy="0"/>
        </a:xfrm>
      </p:grpSpPr>
      <p:sp>
        <p:nvSpPr>
          <p:cNvPr id="531" name="Google Shape;531;p14:notes"/>
          <p:cNvSpPr txBox="1">
            <a:spLocks noGrp="1"/>
          </p:cNvSpPr>
          <p:nvPr>
            <p:ph type="body" idx="1"/>
          </p:nvPr>
        </p:nvSpPr>
        <p:spPr>
          <a:xfrm>
            <a:off x="700405" y="4470837"/>
            <a:ext cx="5603240" cy="3657957"/>
          </a:xfrm>
          <a:prstGeom prst="rect">
            <a:avLst/>
          </a:prstGeom>
        </p:spPr>
        <p:txBody>
          <a:bodyPr spcFirstLastPara="1" wrap="square" lIns="93089" tIns="46532" rIns="93089" bIns="46532" anchor="t" anchorCtr="0">
            <a:noAutofit/>
          </a:bodyPr>
          <a:lstStyle/>
          <a:p>
            <a:pPr marL="0" indent="0"/>
            <a:endParaRPr/>
          </a:p>
        </p:txBody>
      </p:sp>
      <p:sp>
        <p:nvSpPr>
          <p:cNvPr id="532" name="Google Shape;532;p14:notes"/>
          <p:cNvSpPr>
            <a:spLocks noGrp="1" noRot="1" noChangeAspect="1"/>
          </p:cNvSpPr>
          <p:nvPr>
            <p:ph type="sldImg" idx="2"/>
          </p:nvPr>
        </p:nvSpPr>
        <p:spPr>
          <a:xfrm>
            <a:off x="714375" y="1160463"/>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6"/>
        <p:cNvGrpSpPr/>
        <p:nvPr/>
      </p:nvGrpSpPr>
      <p:grpSpPr>
        <a:xfrm>
          <a:off x="0" y="0"/>
          <a:ext cx="0" cy="0"/>
          <a:chOff x="0" y="0"/>
          <a:chExt cx="0" cy="0"/>
        </a:xfrm>
      </p:grpSpPr>
      <p:sp>
        <p:nvSpPr>
          <p:cNvPr id="1097" name="Google Shape;1097;p15:notes"/>
          <p:cNvSpPr>
            <a:spLocks noGrp="1" noRot="1" noChangeAspect="1"/>
          </p:cNvSpPr>
          <p:nvPr>
            <p:ph type="sldImg" idx="2"/>
          </p:nvPr>
        </p:nvSpPr>
        <p:spPr>
          <a:xfrm>
            <a:off x="714375" y="1160463"/>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8" name="Google Shape;1098;p15:notes"/>
          <p:cNvSpPr txBox="1">
            <a:spLocks noGrp="1"/>
          </p:cNvSpPr>
          <p:nvPr>
            <p:ph type="body" idx="1"/>
          </p:nvPr>
        </p:nvSpPr>
        <p:spPr>
          <a:xfrm>
            <a:off x="700405" y="4470837"/>
            <a:ext cx="5603240" cy="3657957"/>
          </a:xfrm>
          <a:prstGeom prst="rect">
            <a:avLst/>
          </a:prstGeom>
          <a:noFill/>
          <a:ln>
            <a:noFill/>
          </a:ln>
        </p:spPr>
        <p:txBody>
          <a:bodyPr spcFirstLastPara="1" wrap="square" lIns="93089" tIns="46532" rIns="93089" bIns="46532" anchor="t" anchorCtr="0">
            <a:noAutofit/>
          </a:bodyPr>
          <a:lstStyle/>
          <a:p>
            <a:pPr marL="0" indent="0"/>
            <a:r>
              <a:rPr lang="en-US"/>
              <a:t>https://www.pexels.com/photo/agriculture-alternative-energy-clouds-countryside-414837/</a:t>
            </a:r>
            <a:endParaRPr/>
          </a:p>
        </p:txBody>
      </p:sp>
      <p:sp>
        <p:nvSpPr>
          <p:cNvPr id="1099" name="Google Shape;1099;p15:notes"/>
          <p:cNvSpPr txBox="1">
            <a:spLocks noGrp="1"/>
          </p:cNvSpPr>
          <p:nvPr>
            <p:ph type="sldNum" idx="12"/>
          </p:nvPr>
        </p:nvSpPr>
        <p:spPr>
          <a:xfrm>
            <a:off x="3967341" y="8823936"/>
            <a:ext cx="3035088" cy="466115"/>
          </a:xfrm>
          <a:prstGeom prst="rect">
            <a:avLst/>
          </a:prstGeom>
          <a:noFill/>
          <a:ln>
            <a:noFill/>
          </a:ln>
        </p:spPr>
        <p:txBody>
          <a:bodyPr spcFirstLastPara="1" wrap="square" lIns="93089" tIns="46532" rIns="93089" bIns="46532"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2"/>
        <p:cNvGrpSpPr/>
        <p:nvPr/>
      </p:nvGrpSpPr>
      <p:grpSpPr>
        <a:xfrm>
          <a:off x="0" y="0"/>
          <a:ext cx="0" cy="0"/>
          <a:chOff x="0" y="0"/>
          <a:chExt cx="0" cy="0"/>
        </a:xfrm>
      </p:grpSpPr>
      <p:sp>
        <p:nvSpPr>
          <p:cNvPr id="1153" name="Google Shape;1153;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54" name="Google Shape;1154;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7"/>
        <p:cNvGrpSpPr/>
        <p:nvPr/>
      </p:nvGrpSpPr>
      <p:grpSpPr>
        <a:xfrm>
          <a:off x="0" y="0"/>
          <a:ext cx="0" cy="0"/>
          <a:chOff x="0" y="0"/>
          <a:chExt cx="0" cy="0"/>
        </a:xfrm>
      </p:grpSpPr>
      <p:sp>
        <p:nvSpPr>
          <p:cNvPr id="1178" name="Google Shape;1178;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79" name="Google Shape;1179;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3"/>
        <p:cNvGrpSpPr/>
        <p:nvPr/>
      </p:nvGrpSpPr>
      <p:grpSpPr>
        <a:xfrm>
          <a:off x="0" y="0"/>
          <a:ext cx="0" cy="0"/>
          <a:chOff x="0" y="0"/>
          <a:chExt cx="0" cy="0"/>
        </a:xfrm>
      </p:grpSpPr>
      <p:sp>
        <p:nvSpPr>
          <p:cNvPr id="1224" name="Google Shape;1224;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25" name="Google Shape;1225;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business-people-meeting_2770453.htm#query=black%20business&amp;position=1&amp;from_view=keyword</a:t>
            </a:r>
            <a:endParaRPr/>
          </a:p>
        </p:txBody>
      </p:sp>
      <p:sp>
        <p:nvSpPr>
          <p:cNvPr id="1226" name="Google Shape;1226;p1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8"/>
        <p:cNvGrpSpPr/>
        <p:nvPr/>
      </p:nvGrpSpPr>
      <p:grpSpPr>
        <a:xfrm>
          <a:off x="0" y="0"/>
          <a:ext cx="0" cy="0"/>
          <a:chOff x="0" y="0"/>
          <a:chExt cx="0" cy="0"/>
        </a:xfrm>
      </p:grpSpPr>
      <p:sp>
        <p:nvSpPr>
          <p:cNvPr id="1249" name="Google Shape;1249;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50" name="Google Shape;1250;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business-people-meeting_2770453.htm#query=black%20business&amp;position=1&amp;from_view=keyword</a:t>
            </a:r>
            <a:endParaRPr/>
          </a:p>
        </p:txBody>
      </p:sp>
      <p:sp>
        <p:nvSpPr>
          <p:cNvPr id="1251" name="Google Shape;1251;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9</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 name="Google Shape;7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0" name="Google Shape;8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3"/>
        <p:cNvGrpSpPr/>
        <p:nvPr/>
      </p:nvGrpSpPr>
      <p:grpSpPr>
        <a:xfrm>
          <a:off x="0" y="0"/>
          <a:ext cx="0" cy="0"/>
          <a:chOff x="0" y="0"/>
          <a:chExt cx="0" cy="0"/>
        </a:xfrm>
      </p:grpSpPr>
      <p:sp>
        <p:nvSpPr>
          <p:cNvPr id="1274" name="Google Shape;1274;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75" name="Google Shape;1275;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9"/>
        <p:cNvGrpSpPr/>
        <p:nvPr/>
      </p:nvGrpSpPr>
      <p:grpSpPr>
        <a:xfrm>
          <a:off x="0" y="0"/>
          <a:ext cx="0" cy="0"/>
          <a:chOff x="0" y="0"/>
          <a:chExt cx="0" cy="0"/>
        </a:xfrm>
      </p:grpSpPr>
      <p:sp>
        <p:nvSpPr>
          <p:cNvPr id="1310" name="Google Shape;1310;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11" name="Google Shape;1311;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36" indent="-285745" eaLnBrk="0" hangingPunct="0">
              <a:spcBef>
                <a:spcPct val="30000"/>
              </a:spcBef>
              <a:defRPr sz="1200">
                <a:solidFill>
                  <a:schemeClr val="tx1"/>
                </a:solidFill>
                <a:latin typeface="Calibri" pitchFamily="34" charset="0"/>
              </a:defRPr>
            </a:lvl2pPr>
            <a:lvl3pPr marL="1142978" indent="-228595" eaLnBrk="0" hangingPunct="0">
              <a:spcBef>
                <a:spcPct val="30000"/>
              </a:spcBef>
              <a:defRPr sz="1200">
                <a:solidFill>
                  <a:schemeClr val="tx1"/>
                </a:solidFill>
                <a:latin typeface="Calibri" pitchFamily="34" charset="0"/>
              </a:defRPr>
            </a:lvl3pPr>
            <a:lvl4pPr marL="1600169" indent="-228595" eaLnBrk="0" hangingPunct="0">
              <a:spcBef>
                <a:spcPct val="30000"/>
              </a:spcBef>
              <a:defRPr sz="1200">
                <a:solidFill>
                  <a:schemeClr val="tx1"/>
                </a:solidFill>
                <a:latin typeface="Calibri" pitchFamily="34" charset="0"/>
              </a:defRPr>
            </a:lvl4pPr>
            <a:lvl5pPr marL="2057360" indent="-228595" eaLnBrk="0" hangingPunct="0">
              <a:spcBef>
                <a:spcPct val="30000"/>
              </a:spcBef>
              <a:defRPr sz="1200">
                <a:solidFill>
                  <a:schemeClr val="tx1"/>
                </a:solidFill>
                <a:latin typeface="Calibri" pitchFamily="34" charset="0"/>
              </a:defRPr>
            </a:lvl5pPr>
            <a:lvl6pPr marL="2514552" indent="-228595" eaLnBrk="0" fontAlgn="base" hangingPunct="0">
              <a:spcBef>
                <a:spcPct val="30000"/>
              </a:spcBef>
              <a:spcAft>
                <a:spcPct val="0"/>
              </a:spcAft>
              <a:defRPr sz="1200">
                <a:solidFill>
                  <a:schemeClr val="tx1"/>
                </a:solidFill>
                <a:latin typeface="Calibri" pitchFamily="34" charset="0"/>
              </a:defRPr>
            </a:lvl6pPr>
            <a:lvl7pPr marL="2971742" indent="-228595" eaLnBrk="0" fontAlgn="base" hangingPunct="0">
              <a:spcBef>
                <a:spcPct val="30000"/>
              </a:spcBef>
              <a:spcAft>
                <a:spcPct val="0"/>
              </a:spcAft>
              <a:defRPr sz="1200">
                <a:solidFill>
                  <a:schemeClr val="tx1"/>
                </a:solidFill>
                <a:latin typeface="Calibri" pitchFamily="34" charset="0"/>
              </a:defRPr>
            </a:lvl7pPr>
            <a:lvl8pPr marL="3428933" indent="-228595" eaLnBrk="0" fontAlgn="base" hangingPunct="0">
              <a:spcBef>
                <a:spcPct val="30000"/>
              </a:spcBef>
              <a:spcAft>
                <a:spcPct val="0"/>
              </a:spcAft>
              <a:defRPr sz="1200">
                <a:solidFill>
                  <a:schemeClr val="tx1"/>
                </a:solidFill>
                <a:latin typeface="Calibri" pitchFamily="34" charset="0"/>
              </a:defRPr>
            </a:lvl8pPr>
            <a:lvl9pPr marL="3886125" indent="-228595"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fld id="{7B3EB6AB-9C53-42AD-8AA3-A8753A9609EC}" type="slidenum">
              <a:rPr lang="de-DE" altLang="en-US" smtClean="0">
                <a:latin typeface="Times New Roman" pitchFamily="18" charset="0"/>
              </a:rPr>
              <a:pPr eaLnBrk="1" fontAlgn="base" hangingPunct="1">
                <a:spcBef>
                  <a:spcPct val="0"/>
                </a:spcBef>
                <a:spcAft>
                  <a:spcPct val="0"/>
                </a:spcAft>
              </a:pPr>
              <a:t>22</a:t>
            </a:fld>
            <a:endParaRPr lang="de-DE" altLang="en-US">
              <a:latin typeface="Times New Roman" pitchFamily="18" charset="0"/>
            </a:endParaRPr>
          </a:p>
        </p:txBody>
      </p:sp>
      <p:sp>
        <p:nvSpPr>
          <p:cNvPr id="3789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Tree>
    <p:extLst>
      <p:ext uri="{BB962C8B-B14F-4D97-AF65-F5344CB8AC3E}">
        <p14:creationId xmlns:p14="http://schemas.microsoft.com/office/powerpoint/2010/main" val="22421387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3"/>
        <p:cNvGrpSpPr/>
        <p:nvPr/>
      </p:nvGrpSpPr>
      <p:grpSpPr>
        <a:xfrm>
          <a:off x="0" y="0"/>
          <a:ext cx="0" cy="0"/>
          <a:chOff x="0" y="0"/>
          <a:chExt cx="0" cy="0"/>
        </a:xfrm>
      </p:grpSpPr>
      <p:sp>
        <p:nvSpPr>
          <p:cNvPr id="1344" name="Google Shape;1344;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45" name="Google Shape;1345;p2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pexels.com/photo/person-in-white-hand-gloves-writing-on-white-paper-207601/</a:t>
            </a:r>
            <a:endParaRPr/>
          </a:p>
        </p:txBody>
      </p:sp>
      <p:sp>
        <p:nvSpPr>
          <p:cNvPr id="1346" name="Google Shape;1346;p2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3</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4"/>
        <p:cNvGrpSpPr/>
        <p:nvPr/>
      </p:nvGrpSpPr>
      <p:grpSpPr>
        <a:xfrm>
          <a:off x="0" y="0"/>
          <a:ext cx="0" cy="0"/>
          <a:chOff x="0" y="0"/>
          <a:chExt cx="0" cy="0"/>
        </a:xfrm>
      </p:grpSpPr>
      <p:sp>
        <p:nvSpPr>
          <p:cNvPr id="1355" name="Google Shape;1355;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56" name="Google Shape;1356;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7"/>
        <p:cNvGrpSpPr/>
        <p:nvPr/>
      </p:nvGrpSpPr>
      <p:grpSpPr>
        <a:xfrm>
          <a:off x="0" y="0"/>
          <a:ext cx="0" cy="0"/>
          <a:chOff x="0" y="0"/>
          <a:chExt cx="0" cy="0"/>
        </a:xfrm>
      </p:grpSpPr>
      <p:sp>
        <p:nvSpPr>
          <p:cNvPr id="1418" name="Google Shape;1418;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19" name="Google Shape;1419;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3"/>
        <p:cNvGrpSpPr/>
        <p:nvPr/>
      </p:nvGrpSpPr>
      <p:grpSpPr>
        <a:xfrm>
          <a:off x="0" y="0"/>
          <a:ext cx="0" cy="0"/>
          <a:chOff x="0" y="0"/>
          <a:chExt cx="0" cy="0"/>
        </a:xfrm>
      </p:grpSpPr>
      <p:sp>
        <p:nvSpPr>
          <p:cNvPr id="1444" name="Google Shape;1444;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45" name="Google Shape;1445;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3"/>
        <p:cNvGrpSpPr/>
        <p:nvPr/>
      </p:nvGrpSpPr>
      <p:grpSpPr>
        <a:xfrm>
          <a:off x="0" y="0"/>
          <a:ext cx="0" cy="0"/>
          <a:chOff x="0" y="0"/>
          <a:chExt cx="0" cy="0"/>
        </a:xfrm>
      </p:grpSpPr>
      <p:sp>
        <p:nvSpPr>
          <p:cNvPr id="1484" name="Google Shape;1484;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5" name="Google Shape;1485;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hand-placing-wooden-block-represent-growth_11383313.htm#query=hand%20placing%20wooden%20block&amp;position=1&amp;from_view=search</a:t>
            </a:r>
            <a:endParaRPr/>
          </a:p>
        </p:txBody>
      </p:sp>
      <p:sp>
        <p:nvSpPr>
          <p:cNvPr id="1486" name="Google Shape;1486;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3"/>
        <p:cNvGrpSpPr/>
        <p:nvPr/>
      </p:nvGrpSpPr>
      <p:grpSpPr>
        <a:xfrm>
          <a:off x="0" y="0"/>
          <a:ext cx="0" cy="0"/>
          <a:chOff x="0" y="0"/>
          <a:chExt cx="0" cy="0"/>
        </a:xfrm>
      </p:grpSpPr>
      <p:sp>
        <p:nvSpPr>
          <p:cNvPr id="1504" name="Google Shape;1504;p2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05" name="Google Shape;1505;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0"/>
        <p:cNvGrpSpPr/>
        <p:nvPr/>
      </p:nvGrpSpPr>
      <p:grpSpPr>
        <a:xfrm>
          <a:off x="0" y="0"/>
          <a:ext cx="0" cy="0"/>
          <a:chOff x="0" y="0"/>
          <a:chExt cx="0" cy="0"/>
        </a:xfrm>
      </p:grpSpPr>
      <p:sp>
        <p:nvSpPr>
          <p:cNvPr id="1531" name="Google Shape;1531;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32" name="Google Shape;1532;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global-environmental-sustainability-background-green-technology_17121775.htm</a:t>
            </a:r>
            <a:endParaRPr/>
          </a:p>
        </p:txBody>
      </p:sp>
      <p:sp>
        <p:nvSpPr>
          <p:cNvPr id="1533" name="Google Shape;1533;p3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Google Shape;137;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8" name="Google Shape;138;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2"/>
        <p:cNvGrpSpPr/>
        <p:nvPr/>
      </p:nvGrpSpPr>
      <p:grpSpPr>
        <a:xfrm>
          <a:off x="0" y="0"/>
          <a:ext cx="0" cy="0"/>
          <a:chOff x="0" y="0"/>
          <a:chExt cx="0" cy="0"/>
        </a:xfrm>
      </p:grpSpPr>
      <p:sp>
        <p:nvSpPr>
          <p:cNvPr id="1543" name="Google Shape;1543;p3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44" name="Google Shape;1544;p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4"/>
        <p:cNvGrpSpPr/>
        <p:nvPr/>
      </p:nvGrpSpPr>
      <p:grpSpPr>
        <a:xfrm>
          <a:off x="0" y="0"/>
          <a:ext cx="0" cy="0"/>
          <a:chOff x="0" y="0"/>
          <a:chExt cx="0" cy="0"/>
        </a:xfrm>
      </p:grpSpPr>
      <p:sp>
        <p:nvSpPr>
          <p:cNvPr id="1565" name="Google Shape;1565;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66" name="Google Shape;1566;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p3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84" name="Google Shape;1584;p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7"/>
        <p:cNvGrpSpPr/>
        <p:nvPr/>
      </p:nvGrpSpPr>
      <p:grpSpPr>
        <a:xfrm>
          <a:off x="0" y="0"/>
          <a:ext cx="0" cy="0"/>
          <a:chOff x="0" y="0"/>
          <a:chExt cx="0" cy="0"/>
        </a:xfrm>
      </p:grpSpPr>
      <p:sp>
        <p:nvSpPr>
          <p:cNvPr id="1638" name="Google Shape;1638;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39" name="Google Shape;1639;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7"/>
        <p:cNvGrpSpPr/>
        <p:nvPr/>
      </p:nvGrpSpPr>
      <p:grpSpPr>
        <a:xfrm>
          <a:off x="0" y="0"/>
          <a:ext cx="0" cy="0"/>
          <a:chOff x="0" y="0"/>
          <a:chExt cx="0" cy="0"/>
        </a:xfrm>
      </p:grpSpPr>
      <p:sp>
        <p:nvSpPr>
          <p:cNvPr id="1638" name="Google Shape;1638;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39" name="Google Shape;1639;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828994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9"/>
        <p:cNvGrpSpPr/>
        <p:nvPr/>
      </p:nvGrpSpPr>
      <p:grpSpPr>
        <a:xfrm>
          <a:off x="0" y="0"/>
          <a:ext cx="0" cy="0"/>
          <a:chOff x="0" y="0"/>
          <a:chExt cx="0" cy="0"/>
        </a:xfrm>
      </p:grpSpPr>
      <p:sp>
        <p:nvSpPr>
          <p:cNvPr id="1690" name="Google Shape;1690;p3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91" name="Google Shape;1691;p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6"/>
        <p:cNvGrpSpPr/>
        <p:nvPr/>
      </p:nvGrpSpPr>
      <p:grpSpPr>
        <a:xfrm>
          <a:off x="0" y="0"/>
          <a:ext cx="0" cy="0"/>
          <a:chOff x="0" y="0"/>
          <a:chExt cx="0" cy="0"/>
        </a:xfrm>
      </p:grpSpPr>
      <p:sp>
        <p:nvSpPr>
          <p:cNvPr id="1717" name="Google Shape;1717;p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18" name="Google Shape;1718;p3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iaf.news/</a:t>
            </a:r>
            <a:endParaRPr/>
          </a:p>
        </p:txBody>
      </p:sp>
      <p:sp>
        <p:nvSpPr>
          <p:cNvPr id="1719" name="Google Shape;1719;p3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7</a:t>
            </a:f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8"/>
        <p:cNvGrpSpPr/>
        <p:nvPr/>
      </p:nvGrpSpPr>
      <p:grpSpPr>
        <a:xfrm>
          <a:off x="0" y="0"/>
          <a:ext cx="0" cy="0"/>
          <a:chOff x="0" y="0"/>
          <a:chExt cx="0" cy="0"/>
        </a:xfrm>
      </p:grpSpPr>
      <p:sp>
        <p:nvSpPr>
          <p:cNvPr id="1729" name="Google Shape;1729;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30" name="Google Shape;1730;p3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unsplash.com/photos/OBok3F8buKY</a:t>
            </a:r>
            <a:endParaRPr/>
          </a:p>
        </p:txBody>
      </p:sp>
      <p:sp>
        <p:nvSpPr>
          <p:cNvPr id="1731" name="Google Shape;1731;p3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8</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9"/>
        <p:cNvGrpSpPr/>
        <p:nvPr/>
      </p:nvGrpSpPr>
      <p:grpSpPr>
        <a:xfrm>
          <a:off x="0" y="0"/>
          <a:ext cx="0" cy="0"/>
          <a:chOff x="0" y="0"/>
          <a:chExt cx="0" cy="0"/>
        </a:xfrm>
      </p:grpSpPr>
      <p:sp>
        <p:nvSpPr>
          <p:cNvPr id="1740" name="Google Shape;1740;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41" name="Google Shape;1741;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1"/>
        <p:cNvGrpSpPr/>
        <p:nvPr/>
      </p:nvGrpSpPr>
      <p:grpSpPr>
        <a:xfrm>
          <a:off x="0" y="0"/>
          <a:ext cx="0" cy="0"/>
          <a:chOff x="0" y="0"/>
          <a:chExt cx="0" cy="0"/>
        </a:xfrm>
      </p:grpSpPr>
      <p:sp>
        <p:nvSpPr>
          <p:cNvPr id="1762" name="Google Shape;1762;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3" name="Google Shape;1763;p3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unsplash.com/photos/Q7wDdmgCBFg</a:t>
            </a:r>
            <a:endParaRPr/>
          </a:p>
        </p:txBody>
      </p:sp>
      <p:sp>
        <p:nvSpPr>
          <p:cNvPr id="1764" name="Google Shape;1764;p3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0</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2" name="Google Shape;162;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2"/>
        <p:cNvGrpSpPr/>
        <p:nvPr/>
      </p:nvGrpSpPr>
      <p:grpSpPr>
        <a:xfrm>
          <a:off x="0" y="0"/>
          <a:ext cx="0" cy="0"/>
          <a:chOff x="0" y="0"/>
          <a:chExt cx="0" cy="0"/>
        </a:xfrm>
      </p:grpSpPr>
      <p:sp>
        <p:nvSpPr>
          <p:cNvPr id="1773" name="Google Shape;1773;p4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74" name="Google Shape;1774;p4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premium-photo/business-people-stacking-their-hands_4201057.htm</a:t>
            </a:r>
            <a:endParaRPr/>
          </a:p>
        </p:txBody>
      </p:sp>
      <p:sp>
        <p:nvSpPr>
          <p:cNvPr id="1775" name="Google Shape;1775;p4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1</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 name="Google Shape;201;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professional-industrial-cleaner-protection-work-wear-smiling-holding-fist-high-production-plant_11450737.htm#page=6&amp;position=6&amp;from_view=author</a:t>
            </a:r>
            <a:endParaRPr/>
          </a:p>
        </p:txBody>
      </p:sp>
      <p:sp>
        <p:nvSpPr>
          <p:cNvPr id="202" name="Google Shape;202;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3" name="Google Shape;213;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illustration-several-yellow-lights-arranged-form-pentagon_10835633.htm</a:t>
            </a:r>
            <a:endParaRPr/>
          </a:p>
        </p:txBody>
      </p:sp>
      <p:sp>
        <p:nvSpPr>
          <p:cNvPr id="214" name="Google Shape;214;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Google Shape;225;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6" name="Google Shape;226;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3"/>
        <p:cNvGrpSpPr/>
        <p:nvPr/>
      </p:nvGrpSpPr>
      <p:grpSpPr>
        <a:xfrm>
          <a:off x="0" y="0"/>
          <a:ext cx="0" cy="0"/>
          <a:chOff x="0" y="0"/>
          <a:chExt cx="0" cy="0"/>
        </a:xfrm>
      </p:grpSpPr>
      <p:sp>
        <p:nvSpPr>
          <p:cNvPr id="334" name="Google Shape;33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5" name="Google Shape;335;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close-up-picture-hand-watering-sapling-plant_10992177.htm#query=economic%20development%20plants&amp;position=0&amp;from_view=search</a:t>
            </a:r>
            <a:endParaRPr/>
          </a:p>
        </p:txBody>
      </p:sp>
      <p:sp>
        <p:nvSpPr>
          <p:cNvPr id="336" name="Google Shape;336;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Google Shape;344;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5" name="Google Shape;34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lideAdd1">
  <p:cSld name="SlideAdd1">
    <p:spTree>
      <p:nvGrpSpPr>
        <p:cNvPr id="1" name="Shape 15"/>
        <p:cNvGrpSpPr/>
        <p:nvPr/>
      </p:nvGrpSpPr>
      <p:grpSpPr>
        <a:xfrm>
          <a:off x="0" y="0"/>
          <a:ext cx="0" cy="0"/>
          <a:chOff x="0" y="0"/>
          <a:chExt cx="0" cy="0"/>
        </a:xfrm>
      </p:grpSpPr>
      <p:sp>
        <p:nvSpPr>
          <p:cNvPr id="16" name="Google Shape;16;p42"/>
          <p:cNvSpPr>
            <a:spLocks noGrp="1"/>
          </p:cNvSpPr>
          <p:nvPr>
            <p:ph type="pic" idx="2"/>
          </p:nvPr>
        </p:nvSpPr>
        <p:spPr>
          <a:xfrm>
            <a:off x="6783602" y="0"/>
            <a:ext cx="5408398" cy="6858000"/>
          </a:xfrm>
          <a:prstGeom prst="rect">
            <a:avLst/>
          </a:prstGeom>
          <a:noFill/>
          <a:ln>
            <a:noFill/>
          </a:ln>
        </p:spPr>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1_Custom_Slide">
  <p:cSld name="11_Custom_Slide">
    <p:spTree>
      <p:nvGrpSpPr>
        <p:cNvPr id="1" name="Shape 41"/>
        <p:cNvGrpSpPr/>
        <p:nvPr/>
      </p:nvGrpSpPr>
      <p:grpSpPr>
        <a:xfrm>
          <a:off x="0" y="0"/>
          <a:ext cx="0" cy="0"/>
          <a:chOff x="0" y="0"/>
          <a:chExt cx="0" cy="0"/>
        </a:xfrm>
      </p:grpSpPr>
      <p:sp>
        <p:nvSpPr>
          <p:cNvPr id="42" name="Google Shape;42;p51"/>
          <p:cNvSpPr>
            <a:spLocks noGrp="1"/>
          </p:cNvSpPr>
          <p:nvPr>
            <p:ph type="pic" idx="2"/>
          </p:nvPr>
        </p:nvSpPr>
        <p:spPr>
          <a:xfrm>
            <a:off x="0" y="0"/>
            <a:ext cx="12192000" cy="3429000"/>
          </a:xfrm>
          <a:prstGeom prst="rect">
            <a:avLst/>
          </a:prstGeom>
          <a:noFill/>
          <a:ln>
            <a:noFill/>
          </a:ln>
        </p:spPr>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lideAdd2">
  <p:cSld name="SlideAdd2">
    <p:spTree>
      <p:nvGrpSpPr>
        <p:cNvPr id="1" name="Shape 43"/>
        <p:cNvGrpSpPr/>
        <p:nvPr/>
      </p:nvGrpSpPr>
      <p:grpSpPr>
        <a:xfrm>
          <a:off x="0" y="0"/>
          <a:ext cx="0" cy="0"/>
          <a:chOff x="0" y="0"/>
          <a:chExt cx="0" cy="0"/>
        </a:xfrm>
      </p:grpSpPr>
      <p:sp>
        <p:nvSpPr>
          <p:cNvPr id="44" name="Google Shape;44;p52"/>
          <p:cNvSpPr>
            <a:spLocks noGrp="1"/>
          </p:cNvSpPr>
          <p:nvPr>
            <p:ph type="pic" idx="2"/>
          </p:nvPr>
        </p:nvSpPr>
        <p:spPr>
          <a:xfrm>
            <a:off x="6815821" y="912813"/>
            <a:ext cx="4929863" cy="5127626"/>
          </a:xfrm>
          <a:prstGeom prst="rect">
            <a:avLst/>
          </a:prstGeom>
          <a:noFill/>
          <a:ln>
            <a:noFill/>
          </a:ln>
        </p:spPr>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45"/>
        <p:cNvGrpSpPr/>
        <p:nvPr/>
      </p:nvGrpSpPr>
      <p:grpSpPr>
        <a:xfrm>
          <a:off x="0" y="0"/>
          <a:ext cx="0" cy="0"/>
          <a:chOff x="0" y="0"/>
          <a:chExt cx="0" cy="0"/>
        </a:xfrm>
      </p:grpSpPr>
      <p:sp>
        <p:nvSpPr>
          <p:cNvPr id="46" name="Google Shape;46;p53"/>
          <p:cNvSpPr>
            <a:spLocks noGrp="1"/>
          </p:cNvSpPr>
          <p:nvPr>
            <p:ph type="pic" idx="2"/>
          </p:nvPr>
        </p:nvSpPr>
        <p:spPr>
          <a:xfrm>
            <a:off x="7750320" y="1075483"/>
            <a:ext cx="3944777" cy="4966557"/>
          </a:xfrm>
          <a:prstGeom prst="rect">
            <a:avLst/>
          </a:prstGeom>
          <a:noFill/>
          <a:ln>
            <a:noFill/>
          </a:ln>
          <a:effectLst>
            <a:outerShdw blurRad="190500" sx="102000" sy="102000" algn="ctr" rotWithShape="0">
              <a:srgbClr val="000000">
                <a:alpha val="20000"/>
              </a:srgbClr>
            </a:outerShdw>
          </a:effectLst>
        </p:spPr>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lideAdd10">
  <p:cSld name="SlideAdd10">
    <p:spTree>
      <p:nvGrpSpPr>
        <p:cNvPr id="1" name="Shape 47"/>
        <p:cNvGrpSpPr/>
        <p:nvPr/>
      </p:nvGrpSpPr>
      <p:grpSpPr>
        <a:xfrm>
          <a:off x="0" y="0"/>
          <a:ext cx="0" cy="0"/>
          <a:chOff x="0" y="0"/>
          <a:chExt cx="0" cy="0"/>
        </a:xfrm>
      </p:grpSpPr>
      <p:sp>
        <p:nvSpPr>
          <p:cNvPr id="48" name="Google Shape;48;p54"/>
          <p:cNvSpPr>
            <a:spLocks noGrp="1"/>
          </p:cNvSpPr>
          <p:nvPr>
            <p:ph type="pic" idx="2"/>
          </p:nvPr>
        </p:nvSpPr>
        <p:spPr>
          <a:xfrm>
            <a:off x="6906119" y="2902413"/>
            <a:ext cx="5285883" cy="3955589"/>
          </a:xfrm>
          <a:prstGeom prst="rect">
            <a:avLst/>
          </a:prstGeom>
          <a:noFill/>
          <a:ln>
            <a:noFill/>
          </a:ln>
          <a:effectLst>
            <a:outerShdw blurRad="190500" sx="102000" sy="102000" algn="ctr" rotWithShape="0">
              <a:srgbClr val="000000">
                <a:alpha val="20000"/>
              </a:srgbClr>
            </a:outerShdw>
          </a:effectLst>
        </p:spPr>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49"/>
        <p:cNvGrpSpPr/>
        <p:nvPr/>
      </p:nvGrpSpPr>
      <p:grpSpPr>
        <a:xfrm>
          <a:off x="0" y="0"/>
          <a:ext cx="0" cy="0"/>
          <a:chOff x="0" y="0"/>
          <a:chExt cx="0" cy="0"/>
        </a:xfrm>
      </p:grpSpPr>
      <p:sp>
        <p:nvSpPr>
          <p:cNvPr id="50" name="Google Shape;50;p55"/>
          <p:cNvSpPr>
            <a:spLocks noGrp="1"/>
          </p:cNvSpPr>
          <p:nvPr>
            <p:ph type="pic" idx="2"/>
          </p:nvPr>
        </p:nvSpPr>
        <p:spPr>
          <a:xfrm>
            <a:off x="6512614" y="693739"/>
            <a:ext cx="4627562" cy="5470525"/>
          </a:xfrm>
          <a:prstGeom prst="rect">
            <a:avLst/>
          </a:prstGeom>
          <a:noFill/>
          <a:ln>
            <a:noFill/>
          </a:ln>
        </p:spPr>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51"/>
        <p:cNvGrpSpPr/>
        <p:nvPr/>
      </p:nvGrpSpPr>
      <p:grpSpPr>
        <a:xfrm>
          <a:off x="0" y="0"/>
          <a:ext cx="0" cy="0"/>
          <a:chOff x="0" y="0"/>
          <a:chExt cx="0" cy="0"/>
        </a:xfrm>
      </p:grpSpPr>
      <p:sp>
        <p:nvSpPr>
          <p:cNvPr id="52" name="Google Shape;52;p56"/>
          <p:cNvSpPr>
            <a:spLocks noGrp="1"/>
          </p:cNvSpPr>
          <p:nvPr>
            <p:ph type="pic" idx="2"/>
          </p:nvPr>
        </p:nvSpPr>
        <p:spPr>
          <a:xfrm>
            <a:off x="6521534" y="0"/>
            <a:ext cx="5670466" cy="6858000"/>
          </a:xfrm>
          <a:prstGeom prst="rect">
            <a:avLst/>
          </a:prstGeom>
          <a:noFill/>
          <a:ln>
            <a:noFill/>
          </a:ln>
        </p:spPr>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53"/>
        <p:cNvGrpSpPr/>
        <p:nvPr/>
      </p:nvGrpSpPr>
      <p:grpSpPr>
        <a:xfrm>
          <a:off x="0" y="0"/>
          <a:ext cx="0" cy="0"/>
          <a:chOff x="0" y="0"/>
          <a:chExt cx="0" cy="0"/>
        </a:xfrm>
      </p:grpSpPr>
      <p:sp>
        <p:nvSpPr>
          <p:cNvPr id="54" name="Google Shape;54;p57"/>
          <p:cNvSpPr>
            <a:spLocks noGrp="1"/>
          </p:cNvSpPr>
          <p:nvPr>
            <p:ph type="pic" idx="2"/>
          </p:nvPr>
        </p:nvSpPr>
        <p:spPr>
          <a:xfrm flipH="1">
            <a:off x="1" y="0"/>
            <a:ext cx="5670466" cy="6858000"/>
          </a:xfrm>
          <a:prstGeom prst="rect">
            <a:avLst/>
          </a:prstGeom>
          <a:noFill/>
          <a:ln>
            <a:noFill/>
          </a:ln>
        </p:spPr>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55"/>
        <p:cNvGrpSpPr/>
        <p:nvPr/>
      </p:nvGrpSpPr>
      <p:grpSpPr>
        <a:xfrm>
          <a:off x="0" y="0"/>
          <a:ext cx="0" cy="0"/>
          <a:chOff x="0" y="0"/>
          <a:chExt cx="0" cy="0"/>
        </a:xfrm>
      </p:grpSpPr>
      <p:sp>
        <p:nvSpPr>
          <p:cNvPr id="56" name="Google Shape;56;p58"/>
          <p:cNvSpPr>
            <a:spLocks noGrp="1"/>
          </p:cNvSpPr>
          <p:nvPr>
            <p:ph type="pic" idx="2"/>
          </p:nvPr>
        </p:nvSpPr>
        <p:spPr>
          <a:xfrm>
            <a:off x="8382000" y="955964"/>
            <a:ext cx="3324225" cy="4787251"/>
          </a:xfrm>
          <a:prstGeom prst="rect">
            <a:avLst/>
          </a:prstGeom>
          <a:noFill/>
          <a:ln>
            <a:noFill/>
          </a:ln>
          <a:effectLst>
            <a:outerShdw blurRad="190500" sx="102000" sy="102000" algn="ctr" rotWithShape="0">
              <a:srgbClr val="000000">
                <a:alpha val="20000"/>
              </a:srgbClr>
            </a:outerShdw>
          </a:effectLst>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lideAdd30">
  <p:cSld name="SlideAdd30">
    <p:spTree>
      <p:nvGrpSpPr>
        <p:cNvPr id="1" name="Shape 57"/>
        <p:cNvGrpSpPr/>
        <p:nvPr/>
      </p:nvGrpSpPr>
      <p:grpSpPr>
        <a:xfrm>
          <a:off x="0" y="0"/>
          <a:ext cx="0" cy="0"/>
          <a:chOff x="0" y="0"/>
          <a:chExt cx="0" cy="0"/>
        </a:xfrm>
      </p:grpSpPr>
      <p:sp>
        <p:nvSpPr>
          <p:cNvPr id="58" name="Google Shape;58;p59"/>
          <p:cNvSpPr>
            <a:spLocks noGrp="1"/>
          </p:cNvSpPr>
          <p:nvPr>
            <p:ph type="pic" idx="2"/>
          </p:nvPr>
        </p:nvSpPr>
        <p:spPr>
          <a:xfrm>
            <a:off x="1" y="762000"/>
            <a:ext cx="5374752" cy="6096000"/>
          </a:xfrm>
          <a:prstGeom prst="rect">
            <a:avLst/>
          </a:prstGeom>
          <a:noFill/>
          <a:ln>
            <a:noFill/>
          </a:ln>
        </p:spPr>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59"/>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7"/>
        <p:cNvGrpSpPr/>
        <p:nvPr/>
      </p:nvGrpSpPr>
      <p:grpSpPr>
        <a:xfrm>
          <a:off x="0" y="0"/>
          <a:ext cx="0" cy="0"/>
          <a:chOff x="0" y="0"/>
          <a:chExt cx="0" cy="0"/>
        </a:xfrm>
      </p:grpSpPr>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2_Custom_Slide">
  <p:cSld name="12_Custom_Slide">
    <p:spTree>
      <p:nvGrpSpPr>
        <p:cNvPr id="1" name="Shape 60"/>
        <p:cNvGrpSpPr/>
        <p:nvPr/>
      </p:nvGrpSpPr>
      <p:grpSpPr>
        <a:xfrm>
          <a:off x="0" y="0"/>
          <a:ext cx="0" cy="0"/>
          <a:chOff x="0" y="0"/>
          <a:chExt cx="0" cy="0"/>
        </a:xfrm>
      </p:grpSpPr>
      <p:sp>
        <p:nvSpPr>
          <p:cNvPr id="61" name="Google Shape;61;p61"/>
          <p:cNvSpPr>
            <a:spLocks noGrp="1"/>
          </p:cNvSpPr>
          <p:nvPr>
            <p:ph type="pic" idx="2"/>
          </p:nvPr>
        </p:nvSpPr>
        <p:spPr>
          <a:xfrm>
            <a:off x="5858479" y="0"/>
            <a:ext cx="6333520" cy="6858000"/>
          </a:xfrm>
          <a:prstGeom prst="rect">
            <a:avLst/>
          </a:prstGeom>
          <a:noFill/>
          <a:ln>
            <a:noFill/>
          </a:ln>
        </p:spPr>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lvl1pPr fontAlgn="auto">
              <a:spcBef>
                <a:spcPts val="0"/>
              </a:spcBef>
              <a:spcAft>
                <a:spcPts val="0"/>
              </a:spcAft>
              <a:defRPr>
                <a:latin typeface="+mn-lt"/>
              </a:defRPr>
            </a:lvl1pPr>
          </a:lstStyle>
          <a:p>
            <a:pPr>
              <a:defRPr/>
            </a:pPr>
            <a:fld id="{87C67076-88B4-4967-8A59-8FABACB5A4F3}" type="datetimeFigureOut">
              <a:rPr lang="en-GB"/>
              <a:pPr>
                <a:defRPr/>
              </a:pPr>
              <a:t>23/06/2025</a:t>
            </a:fld>
            <a:endParaRPr lang="en-GB"/>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lvl1pPr fontAlgn="auto">
              <a:spcBef>
                <a:spcPts val="0"/>
              </a:spcBef>
              <a:spcAft>
                <a:spcPts val="0"/>
              </a:spcAft>
              <a:defRPr>
                <a:latin typeface="+mn-lt"/>
              </a:defRPr>
            </a:lvl1pPr>
          </a:lstStyle>
          <a:p>
            <a:pPr>
              <a:defRPr/>
            </a:pPr>
            <a:fld id="{39C68464-46A7-450F-B828-71F9702238CD}" type="slidenum">
              <a:rPr lang="en-GB"/>
              <a:pPr>
                <a:defRPr/>
              </a:pPr>
              <a:t>‹#›</a:t>
            </a:fld>
            <a:endParaRPr lang="en-GB"/>
          </a:p>
        </p:txBody>
      </p:sp>
    </p:spTree>
    <p:extLst>
      <p:ext uri="{BB962C8B-B14F-4D97-AF65-F5344CB8AC3E}">
        <p14:creationId xmlns:p14="http://schemas.microsoft.com/office/powerpoint/2010/main" val="15130664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lideAdd1">
  <p:cSld name="SlideAdd1">
    <p:spTree>
      <p:nvGrpSpPr>
        <p:cNvPr id="1" name="Shape 15"/>
        <p:cNvGrpSpPr/>
        <p:nvPr/>
      </p:nvGrpSpPr>
      <p:grpSpPr>
        <a:xfrm>
          <a:off x="0" y="0"/>
          <a:ext cx="0" cy="0"/>
          <a:chOff x="0" y="0"/>
          <a:chExt cx="0" cy="0"/>
        </a:xfrm>
      </p:grpSpPr>
      <p:pic>
        <p:nvPicPr>
          <p:cNvPr id="16" name="Google Shape;16;p42"/>
          <p:cNvPicPr preferRelativeResize="0">
            <a:picLocks noGrp="1"/>
          </p:cNvPicPr>
          <p:nvPr>
            <p:ph type="pic" idx="2"/>
          </p:nvPr>
        </p:nvPicPr>
        <p:blipFill/>
        <p:spPr>
          <a:xfrm>
            <a:off x="6783602" y="0"/>
            <a:ext cx="5408398"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116204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1652698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lideAdd6">
  <p:cSld name="SlideAdd6">
    <p:spTree>
      <p:nvGrpSpPr>
        <p:cNvPr id="1" name="Shape 18"/>
        <p:cNvGrpSpPr/>
        <p:nvPr/>
      </p:nvGrpSpPr>
      <p:grpSpPr>
        <a:xfrm>
          <a:off x="0" y="0"/>
          <a:ext cx="0" cy="0"/>
          <a:chOff x="0" y="0"/>
          <a:chExt cx="0" cy="0"/>
        </a:xfrm>
      </p:grpSpPr>
      <p:pic>
        <p:nvPicPr>
          <p:cNvPr id="19" name="Google Shape;19;p44"/>
          <p:cNvPicPr preferRelativeResize="0">
            <a:picLocks noGrp="1"/>
          </p:cNvPicPr>
          <p:nvPr>
            <p:ph type="pic" idx="2"/>
          </p:nvPr>
        </p:nvPicPr>
        <p:blipFill/>
        <p:spPr>
          <a:xfrm>
            <a:off x="5783525" y="0"/>
            <a:ext cx="6408476"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2635176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lideAdd7">
  <p:cSld name="SlideAdd7">
    <p:spTree>
      <p:nvGrpSpPr>
        <p:cNvPr id="1" name="Shape 20"/>
        <p:cNvGrpSpPr/>
        <p:nvPr/>
      </p:nvGrpSpPr>
      <p:grpSpPr>
        <a:xfrm>
          <a:off x="0" y="0"/>
          <a:ext cx="0" cy="0"/>
          <a:chOff x="0" y="0"/>
          <a:chExt cx="0" cy="0"/>
        </a:xfrm>
      </p:grpSpPr>
      <p:pic>
        <p:nvPicPr>
          <p:cNvPr id="21" name="Google Shape;21;p45"/>
          <p:cNvPicPr preferRelativeResize="0">
            <a:picLocks noGrp="1"/>
          </p:cNvPicPr>
          <p:nvPr>
            <p:ph type="pic" idx="2"/>
          </p:nvPr>
        </p:nvPicPr>
        <p:blipFill/>
        <p:spPr>
          <a:xfrm>
            <a:off x="1" y="0"/>
            <a:ext cx="6094025" cy="6321784"/>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4997431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22_Title Slide">
  <p:cSld name="22_Title Slide">
    <p:spTree>
      <p:nvGrpSpPr>
        <p:cNvPr id="1" name="Shape 22"/>
        <p:cNvGrpSpPr/>
        <p:nvPr/>
      </p:nvGrpSpPr>
      <p:grpSpPr>
        <a:xfrm>
          <a:off x="0" y="0"/>
          <a:ext cx="0" cy="0"/>
          <a:chOff x="0" y="0"/>
          <a:chExt cx="0" cy="0"/>
        </a:xfrm>
      </p:grpSpPr>
      <p:sp>
        <p:nvSpPr>
          <p:cNvPr id="23" name="Google Shape;23;p46"/>
          <p:cNvSpPr>
            <a:spLocks noGrp="1"/>
          </p:cNvSpPr>
          <p:nvPr>
            <p:ph type="pic" idx="2"/>
          </p:nvPr>
        </p:nvSpPr>
        <p:spPr>
          <a:xfrm>
            <a:off x="6056672" y="0"/>
            <a:ext cx="6135328" cy="6135330"/>
          </a:xfrm>
          <a:prstGeom prst="rect">
            <a:avLst/>
          </a:prstGeom>
          <a:solidFill>
            <a:srgbClr val="F2F2F2">
              <a:alpha val="34901"/>
            </a:srgbClr>
          </a:solidFill>
          <a:ln>
            <a:noFill/>
          </a:ln>
        </p:spPr>
      </p:sp>
    </p:spTree>
    <p:extLst>
      <p:ext uri="{BB962C8B-B14F-4D97-AF65-F5344CB8AC3E}">
        <p14:creationId xmlns:p14="http://schemas.microsoft.com/office/powerpoint/2010/main" val="42806098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8_Custom_Slide">
  <p:cSld name="8_Custom_Slide">
    <p:spTree>
      <p:nvGrpSpPr>
        <p:cNvPr id="1" name="Shape 24"/>
        <p:cNvGrpSpPr/>
        <p:nvPr/>
      </p:nvGrpSpPr>
      <p:grpSpPr>
        <a:xfrm>
          <a:off x="0" y="0"/>
          <a:ext cx="0" cy="0"/>
          <a:chOff x="0" y="0"/>
          <a:chExt cx="0" cy="0"/>
        </a:xfrm>
      </p:grpSpPr>
      <p:sp>
        <p:nvSpPr>
          <p:cNvPr id="25" name="Google Shape;25;p47"/>
          <p:cNvSpPr>
            <a:spLocks noGrp="1"/>
          </p:cNvSpPr>
          <p:nvPr>
            <p:ph type="pic" idx="2"/>
          </p:nvPr>
        </p:nvSpPr>
        <p:spPr>
          <a:xfrm>
            <a:off x="5801559" y="2"/>
            <a:ext cx="6390441" cy="5831220"/>
          </a:xfrm>
          <a:prstGeom prst="rect">
            <a:avLst/>
          </a:prstGeom>
          <a:noFill/>
          <a:ln>
            <a:noFill/>
          </a:ln>
        </p:spPr>
      </p:sp>
    </p:spTree>
    <p:extLst>
      <p:ext uri="{BB962C8B-B14F-4D97-AF65-F5344CB8AC3E}">
        <p14:creationId xmlns:p14="http://schemas.microsoft.com/office/powerpoint/2010/main" val="32177745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9_Custom_Slide">
  <p:cSld name="9_Custom_Slide">
    <p:spTree>
      <p:nvGrpSpPr>
        <p:cNvPr id="1" name="Shape 26"/>
        <p:cNvGrpSpPr/>
        <p:nvPr/>
      </p:nvGrpSpPr>
      <p:grpSpPr>
        <a:xfrm>
          <a:off x="0" y="0"/>
          <a:ext cx="0" cy="0"/>
          <a:chOff x="0" y="0"/>
          <a:chExt cx="0" cy="0"/>
        </a:xfrm>
      </p:grpSpPr>
      <p:pic>
        <p:nvPicPr>
          <p:cNvPr id="27" name="Google Shape;27;p48"/>
          <p:cNvPicPr preferRelativeResize="0">
            <a:picLocks noGrp="1"/>
          </p:cNvPicPr>
          <p:nvPr>
            <p:ph type="pic" idx="2"/>
          </p:nvPr>
        </p:nvPicPr>
        <p:blipFill/>
        <p:spPr>
          <a:xfrm>
            <a:off x="7690840" y="3"/>
            <a:ext cx="4501160" cy="5398665"/>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0262407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21_Custom Layout">
  <p:cSld name="21_Custom Layout">
    <p:spTree>
      <p:nvGrpSpPr>
        <p:cNvPr id="1" name="Shape 28"/>
        <p:cNvGrpSpPr/>
        <p:nvPr/>
      </p:nvGrpSpPr>
      <p:grpSpPr>
        <a:xfrm>
          <a:off x="0" y="0"/>
          <a:ext cx="0" cy="0"/>
          <a:chOff x="0" y="0"/>
          <a:chExt cx="0" cy="0"/>
        </a:xfrm>
      </p:grpSpPr>
      <p:sp>
        <p:nvSpPr>
          <p:cNvPr id="29" name="Google Shape;29;p49"/>
          <p:cNvSpPr>
            <a:spLocks noGrp="1"/>
          </p:cNvSpPr>
          <p:nvPr>
            <p:ph type="pic" idx="2"/>
          </p:nvPr>
        </p:nvSpPr>
        <p:spPr>
          <a:xfrm>
            <a:off x="738149" y="1256511"/>
            <a:ext cx="1486294" cy="1486294"/>
          </a:xfrm>
          <a:prstGeom prst="ellipse">
            <a:avLst/>
          </a:prstGeom>
          <a:noFill/>
          <a:ln>
            <a:noFill/>
          </a:ln>
        </p:spPr>
      </p:sp>
      <p:sp>
        <p:nvSpPr>
          <p:cNvPr id="30" name="Google Shape;30;p49"/>
          <p:cNvSpPr>
            <a:spLocks noGrp="1"/>
          </p:cNvSpPr>
          <p:nvPr>
            <p:ph type="pic" idx="3"/>
          </p:nvPr>
        </p:nvSpPr>
        <p:spPr>
          <a:xfrm>
            <a:off x="3044027" y="1256511"/>
            <a:ext cx="1486294" cy="1486294"/>
          </a:xfrm>
          <a:prstGeom prst="ellipse">
            <a:avLst/>
          </a:prstGeom>
          <a:noFill/>
          <a:ln>
            <a:noFill/>
          </a:ln>
        </p:spPr>
      </p:sp>
      <p:sp>
        <p:nvSpPr>
          <p:cNvPr id="31" name="Google Shape;31;p49"/>
          <p:cNvSpPr>
            <a:spLocks noGrp="1"/>
          </p:cNvSpPr>
          <p:nvPr>
            <p:ph type="pic" idx="4"/>
          </p:nvPr>
        </p:nvSpPr>
        <p:spPr>
          <a:xfrm>
            <a:off x="5349905" y="1256511"/>
            <a:ext cx="1486294" cy="1486294"/>
          </a:xfrm>
          <a:prstGeom prst="ellipse">
            <a:avLst/>
          </a:prstGeom>
          <a:noFill/>
          <a:ln>
            <a:noFill/>
          </a:ln>
        </p:spPr>
      </p:sp>
      <p:sp>
        <p:nvSpPr>
          <p:cNvPr id="32" name="Google Shape;32;p49"/>
          <p:cNvSpPr>
            <a:spLocks noGrp="1"/>
          </p:cNvSpPr>
          <p:nvPr>
            <p:ph type="pic" idx="5"/>
          </p:nvPr>
        </p:nvSpPr>
        <p:spPr>
          <a:xfrm>
            <a:off x="7655783" y="1256511"/>
            <a:ext cx="1486294" cy="1486294"/>
          </a:xfrm>
          <a:prstGeom prst="ellipse">
            <a:avLst/>
          </a:prstGeom>
          <a:noFill/>
          <a:ln>
            <a:noFill/>
          </a:ln>
        </p:spPr>
      </p:sp>
      <p:sp>
        <p:nvSpPr>
          <p:cNvPr id="33" name="Google Shape;33;p49"/>
          <p:cNvSpPr>
            <a:spLocks noGrp="1"/>
          </p:cNvSpPr>
          <p:nvPr>
            <p:ph type="pic" idx="6"/>
          </p:nvPr>
        </p:nvSpPr>
        <p:spPr>
          <a:xfrm>
            <a:off x="7655783" y="3880442"/>
            <a:ext cx="1486294" cy="1486294"/>
          </a:xfrm>
          <a:prstGeom prst="ellipse">
            <a:avLst/>
          </a:prstGeom>
          <a:noFill/>
          <a:ln>
            <a:noFill/>
          </a:ln>
        </p:spPr>
      </p:sp>
      <p:sp>
        <p:nvSpPr>
          <p:cNvPr id="34" name="Google Shape;34;p49"/>
          <p:cNvSpPr>
            <a:spLocks noGrp="1"/>
          </p:cNvSpPr>
          <p:nvPr>
            <p:ph type="pic" idx="7"/>
          </p:nvPr>
        </p:nvSpPr>
        <p:spPr>
          <a:xfrm>
            <a:off x="5349905" y="3880442"/>
            <a:ext cx="1486294" cy="1486294"/>
          </a:xfrm>
          <a:prstGeom prst="ellipse">
            <a:avLst/>
          </a:prstGeom>
          <a:noFill/>
          <a:ln>
            <a:noFill/>
          </a:ln>
        </p:spPr>
      </p:sp>
      <p:sp>
        <p:nvSpPr>
          <p:cNvPr id="35" name="Google Shape;35;p49"/>
          <p:cNvSpPr>
            <a:spLocks noGrp="1"/>
          </p:cNvSpPr>
          <p:nvPr>
            <p:ph type="pic" idx="8"/>
          </p:nvPr>
        </p:nvSpPr>
        <p:spPr>
          <a:xfrm>
            <a:off x="3044027" y="3880442"/>
            <a:ext cx="1486294" cy="1486294"/>
          </a:xfrm>
          <a:prstGeom prst="ellipse">
            <a:avLst/>
          </a:prstGeom>
          <a:noFill/>
          <a:ln>
            <a:noFill/>
          </a:ln>
        </p:spPr>
      </p:sp>
      <p:sp>
        <p:nvSpPr>
          <p:cNvPr id="36" name="Google Shape;36;p49"/>
          <p:cNvSpPr>
            <a:spLocks noGrp="1"/>
          </p:cNvSpPr>
          <p:nvPr>
            <p:ph type="pic" idx="9"/>
          </p:nvPr>
        </p:nvSpPr>
        <p:spPr>
          <a:xfrm>
            <a:off x="738149" y="3880442"/>
            <a:ext cx="1486294" cy="1486294"/>
          </a:xfrm>
          <a:prstGeom prst="ellipse">
            <a:avLst/>
          </a:prstGeom>
          <a:noFill/>
          <a:ln>
            <a:noFill/>
          </a:ln>
        </p:spPr>
      </p:sp>
      <p:sp>
        <p:nvSpPr>
          <p:cNvPr id="37" name="Google Shape;37;p49"/>
          <p:cNvSpPr>
            <a:spLocks noGrp="1"/>
          </p:cNvSpPr>
          <p:nvPr>
            <p:ph type="pic" idx="13"/>
          </p:nvPr>
        </p:nvSpPr>
        <p:spPr>
          <a:xfrm>
            <a:off x="9883381" y="1256511"/>
            <a:ext cx="1486294" cy="1486294"/>
          </a:xfrm>
          <a:prstGeom prst="ellipse">
            <a:avLst/>
          </a:prstGeom>
          <a:noFill/>
          <a:ln>
            <a:noFill/>
          </a:ln>
        </p:spPr>
      </p:sp>
      <p:sp>
        <p:nvSpPr>
          <p:cNvPr id="38" name="Google Shape;38;p49"/>
          <p:cNvSpPr>
            <a:spLocks noGrp="1"/>
          </p:cNvSpPr>
          <p:nvPr>
            <p:ph type="pic" idx="14"/>
          </p:nvPr>
        </p:nvSpPr>
        <p:spPr>
          <a:xfrm>
            <a:off x="9883381" y="3880442"/>
            <a:ext cx="1486294" cy="1486294"/>
          </a:xfrm>
          <a:prstGeom prst="ellipse">
            <a:avLst/>
          </a:prstGeom>
          <a:noFill/>
          <a:ln>
            <a:noFill/>
          </a:ln>
        </p:spPr>
      </p:sp>
    </p:spTree>
    <p:extLst>
      <p:ext uri="{BB962C8B-B14F-4D97-AF65-F5344CB8AC3E}">
        <p14:creationId xmlns:p14="http://schemas.microsoft.com/office/powerpoint/2010/main" val="40808510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lideAdd6">
  <p:cSld name="SlideAdd6">
    <p:spTree>
      <p:nvGrpSpPr>
        <p:cNvPr id="1" name="Shape 18"/>
        <p:cNvGrpSpPr/>
        <p:nvPr/>
      </p:nvGrpSpPr>
      <p:grpSpPr>
        <a:xfrm>
          <a:off x="0" y="0"/>
          <a:ext cx="0" cy="0"/>
          <a:chOff x="0" y="0"/>
          <a:chExt cx="0" cy="0"/>
        </a:xfrm>
      </p:grpSpPr>
      <p:sp>
        <p:nvSpPr>
          <p:cNvPr id="19" name="Google Shape;19;p44"/>
          <p:cNvSpPr>
            <a:spLocks noGrp="1"/>
          </p:cNvSpPr>
          <p:nvPr>
            <p:ph type="pic" idx="2"/>
          </p:nvPr>
        </p:nvSpPr>
        <p:spPr>
          <a:xfrm>
            <a:off x="5783525" y="0"/>
            <a:ext cx="6408476" cy="6858000"/>
          </a:xfrm>
          <a:prstGeom prst="rect">
            <a:avLst/>
          </a:prstGeom>
          <a:noFill/>
          <a:ln>
            <a:noFill/>
          </a:ln>
        </p:spPr>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0_Custom_Slide">
  <p:cSld name="10_Custom_Slide">
    <p:spTree>
      <p:nvGrpSpPr>
        <p:cNvPr id="1" name="Shape 39"/>
        <p:cNvGrpSpPr/>
        <p:nvPr/>
      </p:nvGrpSpPr>
      <p:grpSpPr>
        <a:xfrm>
          <a:off x="0" y="0"/>
          <a:ext cx="0" cy="0"/>
          <a:chOff x="0" y="0"/>
          <a:chExt cx="0" cy="0"/>
        </a:xfrm>
      </p:grpSpPr>
      <p:pic>
        <p:nvPicPr>
          <p:cNvPr id="40" name="Google Shape;40;p50"/>
          <p:cNvPicPr preferRelativeResize="0">
            <a:picLocks noGrp="1"/>
          </p:cNvPicPr>
          <p:nvPr>
            <p:ph type="pic" idx="2"/>
          </p:nvPr>
        </p:nvPicPr>
        <p:blipFill/>
        <p:spPr>
          <a:xfrm flipH="1">
            <a:off x="7860355" y="0"/>
            <a:ext cx="4331644"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10565729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1_Custom_Slide">
  <p:cSld name="11_Custom_Slide">
    <p:spTree>
      <p:nvGrpSpPr>
        <p:cNvPr id="1" name="Shape 41"/>
        <p:cNvGrpSpPr/>
        <p:nvPr/>
      </p:nvGrpSpPr>
      <p:grpSpPr>
        <a:xfrm>
          <a:off x="0" y="0"/>
          <a:ext cx="0" cy="0"/>
          <a:chOff x="0" y="0"/>
          <a:chExt cx="0" cy="0"/>
        </a:xfrm>
      </p:grpSpPr>
      <p:sp>
        <p:nvSpPr>
          <p:cNvPr id="42" name="Google Shape;42;p51"/>
          <p:cNvSpPr>
            <a:spLocks noGrp="1"/>
          </p:cNvSpPr>
          <p:nvPr>
            <p:ph type="pic" idx="2"/>
          </p:nvPr>
        </p:nvSpPr>
        <p:spPr>
          <a:xfrm>
            <a:off x="0" y="0"/>
            <a:ext cx="12192000" cy="3429000"/>
          </a:xfrm>
          <a:prstGeom prst="rect">
            <a:avLst/>
          </a:prstGeom>
          <a:noFill/>
          <a:ln>
            <a:noFill/>
          </a:ln>
        </p:spPr>
      </p:sp>
    </p:spTree>
    <p:extLst>
      <p:ext uri="{BB962C8B-B14F-4D97-AF65-F5344CB8AC3E}">
        <p14:creationId xmlns:p14="http://schemas.microsoft.com/office/powerpoint/2010/main" val="37712494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lideAdd2">
  <p:cSld name="SlideAdd2">
    <p:spTree>
      <p:nvGrpSpPr>
        <p:cNvPr id="1" name="Shape 43"/>
        <p:cNvGrpSpPr/>
        <p:nvPr/>
      </p:nvGrpSpPr>
      <p:grpSpPr>
        <a:xfrm>
          <a:off x="0" y="0"/>
          <a:ext cx="0" cy="0"/>
          <a:chOff x="0" y="0"/>
          <a:chExt cx="0" cy="0"/>
        </a:xfrm>
      </p:grpSpPr>
      <p:pic>
        <p:nvPicPr>
          <p:cNvPr id="44" name="Google Shape;44;p52"/>
          <p:cNvPicPr preferRelativeResize="0">
            <a:picLocks noGrp="1"/>
          </p:cNvPicPr>
          <p:nvPr>
            <p:ph type="pic" idx="2"/>
          </p:nvPr>
        </p:nvPicPr>
        <p:blipFill/>
        <p:spPr>
          <a:xfrm>
            <a:off x="6815821" y="912813"/>
            <a:ext cx="4929863" cy="5127626"/>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4507616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45"/>
        <p:cNvGrpSpPr/>
        <p:nvPr/>
      </p:nvGrpSpPr>
      <p:grpSpPr>
        <a:xfrm>
          <a:off x="0" y="0"/>
          <a:ext cx="0" cy="0"/>
          <a:chOff x="0" y="0"/>
          <a:chExt cx="0" cy="0"/>
        </a:xfrm>
      </p:grpSpPr>
      <p:sp>
        <p:nvSpPr>
          <p:cNvPr id="46" name="Google Shape;46;p53"/>
          <p:cNvSpPr>
            <a:spLocks noGrp="1"/>
          </p:cNvSpPr>
          <p:nvPr>
            <p:ph type="pic" idx="2"/>
          </p:nvPr>
        </p:nvSpPr>
        <p:spPr>
          <a:xfrm>
            <a:off x="7750320" y="1075483"/>
            <a:ext cx="3944777" cy="4966557"/>
          </a:xfrm>
          <a:prstGeom prst="rect">
            <a:avLst/>
          </a:prstGeom>
          <a:noFill/>
          <a:ln>
            <a:noFill/>
          </a:ln>
          <a:effectLst>
            <a:outerShdw blurRad="190500" sx="102000" sy="102000" algn="ctr" rotWithShape="0">
              <a:srgbClr val="000000">
                <a:alpha val="20000"/>
              </a:srgbClr>
            </a:outerShdw>
          </a:effectLst>
        </p:spPr>
      </p:sp>
    </p:spTree>
    <p:extLst>
      <p:ext uri="{BB962C8B-B14F-4D97-AF65-F5344CB8AC3E}">
        <p14:creationId xmlns:p14="http://schemas.microsoft.com/office/powerpoint/2010/main" val="25853818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lideAdd10">
  <p:cSld name="SlideAdd10">
    <p:spTree>
      <p:nvGrpSpPr>
        <p:cNvPr id="1" name="Shape 47"/>
        <p:cNvGrpSpPr/>
        <p:nvPr/>
      </p:nvGrpSpPr>
      <p:grpSpPr>
        <a:xfrm>
          <a:off x="0" y="0"/>
          <a:ext cx="0" cy="0"/>
          <a:chOff x="0" y="0"/>
          <a:chExt cx="0" cy="0"/>
        </a:xfrm>
      </p:grpSpPr>
      <p:pic>
        <p:nvPicPr>
          <p:cNvPr id="48" name="Google Shape;48;p54"/>
          <p:cNvPicPr preferRelativeResize="0">
            <a:picLocks noGrp="1"/>
          </p:cNvPicPr>
          <p:nvPr>
            <p:ph type="pic" idx="2"/>
          </p:nvPr>
        </p:nvPicPr>
        <p:blipFill/>
        <p:spPr>
          <a:xfrm>
            <a:off x="6906119" y="2902413"/>
            <a:ext cx="5285883" cy="3955589"/>
          </a:xfrm>
          <a:prstGeom prst="rect">
            <a:avLst/>
          </a:prstGeom>
          <a:blipFill rotWithShape="1">
            <a:blip r:embed="rId2">
              <a:alphaModFix/>
            </a:blip>
            <a:tile tx="0" ty="0" sx="100000" sy="100000" flip="none" algn="tl"/>
          </a:blipFill>
          <a:ln>
            <a:noFill/>
          </a:ln>
          <a:effectLst>
            <a:outerShdw blurRad="190500" sx="102000" sy="102000" algn="ctr" rotWithShape="0">
              <a:srgbClr val="000000">
                <a:alpha val="20000"/>
              </a:srgbClr>
            </a:outerShdw>
          </a:effectLst>
        </p:spPr>
      </p:pic>
    </p:spTree>
    <p:extLst>
      <p:ext uri="{BB962C8B-B14F-4D97-AF65-F5344CB8AC3E}">
        <p14:creationId xmlns:p14="http://schemas.microsoft.com/office/powerpoint/2010/main" val="29120886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49"/>
        <p:cNvGrpSpPr/>
        <p:nvPr/>
      </p:nvGrpSpPr>
      <p:grpSpPr>
        <a:xfrm>
          <a:off x="0" y="0"/>
          <a:ext cx="0" cy="0"/>
          <a:chOff x="0" y="0"/>
          <a:chExt cx="0" cy="0"/>
        </a:xfrm>
      </p:grpSpPr>
      <p:sp>
        <p:nvSpPr>
          <p:cNvPr id="50" name="Google Shape;50;p55"/>
          <p:cNvSpPr>
            <a:spLocks noGrp="1"/>
          </p:cNvSpPr>
          <p:nvPr>
            <p:ph type="pic" idx="2"/>
          </p:nvPr>
        </p:nvSpPr>
        <p:spPr>
          <a:xfrm>
            <a:off x="6512614" y="693739"/>
            <a:ext cx="4627562" cy="5470525"/>
          </a:xfrm>
          <a:prstGeom prst="rect">
            <a:avLst/>
          </a:prstGeom>
          <a:noFill/>
          <a:ln>
            <a:noFill/>
          </a:ln>
        </p:spPr>
      </p:sp>
    </p:spTree>
    <p:extLst>
      <p:ext uri="{BB962C8B-B14F-4D97-AF65-F5344CB8AC3E}">
        <p14:creationId xmlns:p14="http://schemas.microsoft.com/office/powerpoint/2010/main" val="37422649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51"/>
        <p:cNvGrpSpPr/>
        <p:nvPr/>
      </p:nvGrpSpPr>
      <p:grpSpPr>
        <a:xfrm>
          <a:off x="0" y="0"/>
          <a:ext cx="0" cy="0"/>
          <a:chOff x="0" y="0"/>
          <a:chExt cx="0" cy="0"/>
        </a:xfrm>
      </p:grpSpPr>
      <p:sp>
        <p:nvSpPr>
          <p:cNvPr id="52" name="Google Shape;52;p56"/>
          <p:cNvSpPr>
            <a:spLocks noGrp="1"/>
          </p:cNvSpPr>
          <p:nvPr>
            <p:ph type="pic" idx="2"/>
          </p:nvPr>
        </p:nvSpPr>
        <p:spPr>
          <a:xfrm>
            <a:off x="6521534" y="0"/>
            <a:ext cx="5670466" cy="6858000"/>
          </a:xfrm>
          <a:prstGeom prst="rect">
            <a:avLst/>
          </a:prstGeom>
          <a:noFill/>
          <a:ln>
            <a:noFill/>
          </a:ln>
        </p:spPr>
      </p:sp>
    </p:spTree>
    <p:extLst>
      <p:ext uri="{BB962C8B-B14F-4D97-AF65-F5344CB8AC3E}">
        <p14:creationId xmlns:p14="http://schemas.microsoft.com/office/powerpoint/2010/main" val="4099645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53"/>
        <p:cNvGrpSpPr/>
        <p:nvPr/>
      </p:nvGrpSpPr>
      <p:grpSpPr>
        <a:xfrm>
          <a:off x="0" y="0"/>
          <a:ext cx="0" cy="0"/>
          <a:chOff x="0" y="0"/>
          <a:chExt cx="0" cy="0"/>
        </a:xfrm>
      </p:grpSpPr>
      <p:sp>
        <p:nvSpPr>
          <p:cNvPr id="54" name="Google Shape;54;p57"/>
          <p:cNvSpPr>
            <a:spLocks noGrp="1"/>
          </p:cNvSpPr>
          <p:nvPr>
            <p:ph type="pic" idx="2"/>
          </p:nvPr>
        </p:nvSpPr>
        <p:spPr>
          <a:xfrm flipH="1">
            <a:off x="1" y="0"/>
            <a:ext cx="5670466" cy="6858000"/>
          </a:xfrm>
          <a:prstGeom prst="rect">
            <a:avLst/>
          </a:prstGeom>
          <a:noFill/>
          <a:ln>
            <a:noFill/>
          </a:ln>
        </p:spPr>
      </p:sp>
    </p:spTree>
    <p:extLst>
      <p:ext uri="{BB962C8B-B14F-4D97-AF65-F5344CB8AC3E}">
        <p14:creationId xmlns:p14="http://schemas.microsoft.com/office/powerpoint/2010/main" val="39795512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55"/>
        <p:cNvGrpSpPr/>
        <p:nvPr/>
      </p:nvGrpSpPr>
      <p:grpSpPr>
        <a:xfrm>
          <a:off x="0" y="0"/>
          <a:ext cx="0" cy="0"/>
          <a:chOff x="0" y="0"/>
          <a:chExt cx="0" cy="0"/>
        </a:xfrm>
      </p:grpSpPr>
      <p:sp>
        <p:nvSpPr>
          <p:cNvPr id="56" name="Google Shape;56;p58"/>
          <p:cNvSpPr>
            <a:spLocks noGrp="1"/>
          </p:cNvSpPr>
          <p:nvPr>
            <p:ph type="pic" idx="2"/>
          </p:nvPr>
        </p:nvSpPr>
        <p:spPr>
          <a:xfrm>
            <a:off x="8382000" y="955964"/>
            <a:ext cx="3324225" cy="4787251"/>
          </a:xfrm>
          <a:prstGeom prst="rect">
            <a:avLst/>
          </a:prstGeom>
          <a:noFill/>
          <a:ln>
            <a:noFill/>
          </a:ln>
          <a:effectLst>
            <a:outerShdw blurRad="190500" sx="102000" sy="102000" algn="ctr" rotWithShape="0">
              <a:srgbClr val="000000">
                <a:alpha val="20000"/>
              </a:srgbClr>
            </a:outerShdw>
          </a:effectLst>
        </p:spPr>
      </p:sp>
    </p:spTree>
    <p:extLst>
      <p:ext uri="{BB962C8B-B14F-4D97-AF65-F5344CB8AC3E}">
        <p14:creationId xmlns:p14="http://schemas.microsoft.com/office/powerpoint/2010/main" val="30700185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lideAdd30">
  <p:cSld name="SlideAdd30">
    <p:spTree>
      <p:nvGrpSpPr>
        <p:cNvPr id="1" name="Shape 57"/>
        <p:cNvGrpSpPr/>
        <p:nvPr/>
      </p:nvGrpSpPr>
      <p:grpSpPr>
        <a:xfrm>
          <a:off x="0" y="0"/>
          <a:ext cx="0" cy="0"/>
          <a:chOff x="0" y="0"/>
          <a:chExt cx="0" cy="0"/>
        </a:xfrm>
      </p:grpSpPr>
      <p:pic>
        <p:nvPicPr>
          <p:cNvPr id="58" name="Google Shape;58;p59"/>
          <p:cNvPicPr preferRelativeResize="0">
            <a:picLocks noGrp="1"/>
          </p:cNvPicPr>
          <p:nvPr>
            <p:ph type="pic" idx="2"/>
          </p:nvPr>
        </p:nvPicPr>
        <p:blipFill/>
        <p:spPr>
          <a:xfrm>
            <a:off x="1" y="762000"/>
            <a:ext cx="5374752" cy="6096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20880899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lideAdd7">
  <p:cSld name="SlideAdd7">
    <p:spTree>
      <p:nvGrpSpPr>
        <p:cNvPr id="1" name="Shape 20"/>
        <p:cNvGrpSpPr/>
        <p:nvPr/>
      </p:nvGrpSpPr>
      <p:grpSpPr>
        <a:xfrm>
          <a:off x="0" y="0"/>
          <a:ext cx="0" cy="0"/>
          <a:chOff x="0" y="0"/>
          <a:chExt cx="0" cy="0"/>
        </a:xfrm>
      </p:grpSpPr>
      <p:sp>
        <p:nvSpPr>
          <p:cNvPr id="21" name="Google Shape;21;p45"/>
          <p:cNvSpPr>
            <a:spLocks noGrp="1"/>
          </p:cNvSpPr>
          <p:nvPr>
            <p:ph type="pic" idx="2"/>
          </p:nvPr>
        </p:nvSpPr>
        <p:spPr>
          <a:xfrm>
            <a:off x="1" y="0"/>
            <a:ext cx="6094025" cy="6321784"/>
          </a:xfrm>
          <a:prstGeom prst="rect">
            <a:avLst/>
          </a:prstGeom>
          <a:noFill/>
          <a:ln>
            <a:noFill/>
          </a:ln>
        </p:spPr>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59"/>
        <p:cNvGrpSpPr/>
        <p:nvPr/>
      </p:nvGrpSpPr>
      <p:grpSpPr>
        <a:xfrm>
          <a:off x="0" y="0"/>
          <a:ext cx="0" cy="0"/>
          <a:chOff x="0" y="0"/>
          <a:chExt cx="0" cy="0"/>
        </a:xfrm>
      </p:grpSpPr>
    </p:spTree>
    <p:extLst>
      <p:ext uri="{BB962C8B-B14F-4D97-AF65-F5344CB8AC3E}">
        <p14:creationId xmlns:p14="http://schemas.microsoft.com/office/powerpoint/2010/main" val="2341284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2_Custom_Slide">
  <p:cSld name="12_Custom_Slide">
    <p:spTree>
      <p:nvGrpSpPr>
        <p:cNvPr id="1" name="Shape 60"/>
        <p:cNvGrpSpPr/>
        <p:nvPr/>
      </p:nvGrpSpPr>
      <p:grpSpPr>
        <a:xfrm>
          <a:off x="0" y="0"/>
          <a:ext cx="0" cy="0"/>
          <a:chOff x="0" y="0"/>
          <a:chExt cx="0" cy="0"/>
        </a:xfrm>
      </p:grpSpPr>
      <p:pic>
        <p:nvPicPr>
          <p:cNvPr id="61" name="Google Shape;61;p61"/>
          <p:cNvPicPr preferRelativeResize="0">
            <a:picLocks noGrp="1"/>
          </p:cNvPicPr>
          <p:nvPr>
            <p:ph type="pic" idx="2"/>
          </p:nvPr>
        </p:nvPicPr>
        <p:blipFill/>
        <p:spPr>
          <a:xfrm>
            <a:off x="5858479" y="0"/>
            <a:ext cx="6333520"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011793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22_Title Slide">
  <p:cSld name="22_Title Slide">
    <p:spTree>
      <p:nvGrpSpPr>
        <p:cNvPr id="1" name="Shape 22"/>
        <p:cNvGrpSpPr/>
        <p:nvPr/>
      </p:nvGrpSpPr>
      <p:grpSpPr>
        <a:xfrm>
          <a:off x="0" y="0"/>
          <a:ext cx="0" cy="0"/>
          <a:chOff x="0" y="0"/>
          <a:chExt cx="0" cy="0"/>
        </a:xfrm>
      </p:grpSpPr>
      <p:sp>
        <p:nvSpPr>
          <p:cNvPr id="23" name="Google Shape;23;p46"/>
          <p:cNvSpPr>
            <a:spLocks noGrp="1"/>
          </p:cNvSpPr>
          <p:nvPr>
            <p:ph type="pic" idx="2"/>
          </p:nvPr>
        </p:nvSpPr>
        <p:spPr>
          <a:xfrm>
            <a:off x="6056672" y="0"/>
            <a:ext cx="6135328" cy="6135330"/>
          </a:xfrm>
          <a:prstGeom prst="rect">
            <a:avLst/>
          </a:prstGeom>
          <a:solidFill>
            <a:srgbClr val="F2F2F2">
              <a:alpha val="34509"/>
            </a:srgbClr>
          </a:solidFill>
          <a:ln>
            <a:noFill/>
          </a:ln>
        </p:spPr>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8_Custom_Slide">
  <p:cSld name="8_Custom_Slide">
    <p:spTree>
      <p:nvGrpSpPr>
        <p:cNvPr id="1" name="Shape 24"/>
        <p:cNvGrpSpPr/>
        <p:nvPr/>
      </p:nvGrpSpPr>
      <p:grpSpPr>
        <a:xfrm>
          <a:off x="0" y="0"/>
          <a:ext cx="0" cy="0"/>
          <a:chOff x="0" y="0"/>
          <a:chExt cx="0" cy="0"/>
        </a:xfrm>
      </p:grpSpPr>
      <p:sp>
        <p:nvSpPr>
          <p:cNvPr id="25" name="Google Shape;25;p47"/>
          <p:cNvSpPr>
            <a:spLocks noGrp="1"/>
          </p:cNvSpPr>
          <p:nvPr>
            <p:ph type="pic" idx="2"/>
          </p:nvPr>
        </p:nvSpPr>
        <p:spPr>
          <a:xfrm>
            <a:off x="5801559" y="2"/>
            <a:ext cx="6390441" cy="5831220"/>
          </a:xfrm>
          <a:prstGeom prst="rect">
            <a:avLst/>
          </a:prstGeom>
          <a:noFill/>
          <a:ln>
            <a:noFill/>
          </a:ln>
        </p:spPr>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9_Custom_Slide">
  <p:cSld name="9_Custom_Slide">
    <p:spTree>
      <p:nvGrpSpPr>
        <p:cNvPr id="1" name="Shape 26"/>
        <p:cNvGrpSpPr/>
        <p:nvPr/>
      </p:nvGrpSpPr>
      <p:grpSpPr>
        <a:xfrm>
          <a:off x="0" y="0"/>
          <a:ext cx="0" cy="0"/>
          <a:chOff x="0" y="0"/>
          <a:chExt cx="0" cy="0"/>
        </a:xfrm>
      </p:grpSpPr>
      <p:sp>
        <p:nvSpPr>
          <p:cNvPr id="27" name="Google Shape;27;p48"/>
          <p:cNvSpPr>
            <a:spLocks noGrp="1"/>
          </p:cNvSpPr>
          <p:nvPr>
            <p:ph type="pic" idx="2"/>
          </p:nvPr>
        </p:nvSpPr>
        <p:spPr>
          <a:xfrm>
            <a:off x="7690840" y="3"/>
            <a:ext cx="4501160" cy="5398665"/>
          </a:xfrm>
          <a:prstGeom prst="rect">
            <a:avLst/>
          </a:prstGeom>
          <a:noFill/>
          <a:ln>
            <a:noFill/>
          </a:ln>
        </p:spPr>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1_Custom Layout">
  <p:cSld name="21_Custom Layout">
    <p:spTree>
      <p:nvGrpSpPr>
        <p:cNvPr id="1" name="Shape 28"/>
        <p:cNvGrpSpPr/>
        <p:nvPr/>
      </p:nvGrpSpPr>
      <p:grpSpPr>
        <a:xfrm>
          <a:off x="0" y="0"/>
          <a:ext cx="0" cy="0"/>
          <a:chOff x="0" y="0"/>
          <a:chExt cx="0" cy="0"/>
        </a:xfrm>
      </p:grpSpPr>
      <p:sp>
        <p:nvSpPr>
          <p:cNvPr id="29" name="Google Shape;29;p49"/>
          <p:cNvSpPr>
            <a:spLocks noGrp="1"/>
          </p:cNvSpPr>
          <p:nvPr>
            <p:ph type="pic" idx="2"/>
          </p:nvPr>
        </p:nvSpPr>
        <p:spPr>
          <a:xfrm>
            <a:off x="738149" y="1256511"/>
            <a:ext cx="1486294" cy="1486294"/>
          </a:xfrm>
          <a:prstGeom prst="ellipse">
            <a:avLst/>
          </a:prstGeom>
          <a:noFill/>
          <a:ln>
            <a:noFill/>
          </a:ln>
        </p:spPr>
      </p:sp>
      <p:sp>
        <p:nvSpPr>
          <p:cNvPr id="30" name="Google Shape;30;p49"/>
          <p:cNvSpPr>
            <a:spLocks noGrp="1"/>
          </p:cNvSpPr>
          <p:nvPr>
            <p:ph type="pic" idx="3"/>
          </p:nvPr>
        </p:nvSpPr>
        <p:spPr>
          <a:xfrm>
            <a:off x="3044027" y="1256511"/>
            <a:ext cx="1486294" cy="1486294"/>
          </a:xfrm>
          <a:prstGeom prst="ellipse">
            <a:avLst/>
          </a:prstGeom>
          <a:noFill/>
          <a:ln>
            <a:noFill/>
          </a:ln>
        </p:spPr>
      </p:sp>
      <p:sp>
        <p:nvSpPr>
          <p:cNvPr id="31" name="Google Shape;31;p49"/>
          <p:cNvSpPr>
            <a:spLocks noGrp="1"/>
          </p:cNvSpPr>
          <p:nvPr>
            <p:ph type="pic" idx="4"/>
          </p:nvPr>
        </p:nvSpPr>
        <p:spPr>
          <a:xfrm>
            <a:off x="5349905" y="1256511"/>
            <a:ext cx="1486294" cy="1486294"/>
          </a:xfrm>
          <a:prstGeom prst="ellipse">
            <a:avLst/>
          </a:prstGeom>
          <a:noFill/>
          <a:ln>
            <a:noFill/>
          </a:ln>
        </p:spPr>
      </p:sp>
      <p:sp>
        <p:nvSpPr>
          <p:cNvPr id="32" name="Google Shape;32;p49"/>
          <p:cNvSpPr>
            <a:spLocks noGrp="1"/>
          </p:cNvSpPr>
          <p:nvPr>
            <p:ph type="pic" idx="5"/>
          </p:nvPr>
        </p:nvSpPr>
        <p:spPr>
          <a:xfrm>
            <a:off x="7655783" y="1256511"/>
            <a:ext cx="1486294" cy="1486294"/>
          </a:xfrm>
          <a:prstGeom prst="ellipse">
            <a:avLst/>
          </a:prstGeom>
          <a:noFill/>
          <a:ln>
            <a:noFill/>
          </a:ln>
        </p:spPr>
      </p:sp>
      <p:sp>
        <p:nvSpPr>
          <p:cNvPr id="33" name="Google Shape;33;p49"/>
          <p:cNvSpPr>
            <a:spLocks noGrp="1"/>
          </p:cNvSpPr>
          <p:nvPr>
            <p:ph type="pic" idx="6"/>
          </p:nvPr>
        </p:nvSpPr>
        <p:spPr>
          <a:xfrm>
            <a:off x="7655783" y="3880442"/>
            <a:ext cx="1486294" cy="1486294"/>
          </a:xfrm>
          <a:prstGeom prst="ellipse">
            <a:avLst/>
          </a:prstGeom>
          <a:noFill/>
          <a:ln>
            <a:noFill/>
          </a:ln>
        </p:spPr>
      </p:sp>
      <p:sp>
        <p:nvSpPr>
          <p:cNvPr id="34" name="Google Shape;34;p49"/>
          <p:cNvSpPr>
            <a:spLocks noGrp="1"/>
          </p:cNvSpPr>
          <p:nvPr>
            <p:ph type="pic" idx="7"/>
          </p:nvPr>
        </p:nvSpPr>
        <p:spPr>
          <a:xfrm>
            <a:off x="5349905" y="3880442"/>
            <a:ext cx="1486294" cy="1486294"/>
          </a:xfrm>
          <a:prstGeom prst="ellipse">
            <a:avLst/>
          </a:prstGeom>
          <a:noFill/>
          <a:ln>
            <a:noFill/>
          </a:ln>
        </p:spPr>
      </p:sp>
      <p:sp>
        <p:nvSpPr>
          <p:cNvPr id="35" name="Google Shape;35;p49"/>
          <p:cNvSpPr>
            <a:spLocks noGrp="1"/>
          </p:cNvSpPr>
          <p:nvPr>
            <p:ph type="pic" idx="8"/>
          </p:nvPr>
        </p:nvSpPr>
        <p:spPr>
          <a:xfrm>
            <a:off x="3044027" y="3880442"/>
            <a:ext cx="1486294" cy="1486294"/>
          </a:xfrm>
          <a:prstGeom prst="ellipse">
            <a:avLst/>
          </a:prstGeom>
          <a:noFill/>
          <a:ln>
            <a:noFill/>
          </a:ln>
        </p:spPr>
      </p:sp>
      <p:sp>
        <p:nvSpPr>
          <p:cNvPr id="36" name="Google Shape;36;p49"/>
          <p:cNvSpPr>
            <a:spLocks noGrp="1"/>
          </p:cNvSpPr>
          <p:nvPr>
            <p:ph type="pic" idx="9"/>
          </p:nvPr>
        </p:nvSpPr>
        <p:spPr>
          <a:xfrm>
            <a:off x="738149" y="3880442"/>
            <a:ext cx="1486294" cy="1486294"/>
          </a:xfrm>
          <a:prstGeom prst="ellipse">
            <a:avLst/>
          </a:prstGeom>
          <a:noFill/>
          <a:ln>
            <a:noFill/>
          </a:ln>
        </p:spPr>
      </p:sp>
      <p:sp>
        <p:nvSpPr>
          <p:cNvPr id="37" name="Google Shape;37;p49"/>
          <p:cNvSpPr>
            <a:spLocks noGrp="1"/>
          </p:cNvSpPr>
          <p:nvPr>
            <p:ph type="pic" idx="13"/>
          </p:nvPr>
        </p:nvSpPr>
        <p:spPr>
          <a:xfrm>
            <a:off x="9883381" y="1256511"/>
            <a:ext cx="1486294" cy="1486294"/>
          </a:xfrm>
          <a:prstGeom prst="ellipse">
            <a:avLst/>
          </a:prstGeom>
          <a:noFill/>
          <a:ln>
            <a:noFill/>
          </a:ln>
        </p:spPr>
      </p:sp>
      <p:sp>
        <p:nvSpPr>
          <p:cNvPr id="38" name="Google Shape;38;p49"/>
          <p:cNvSpPr>
            <a:spLocks noGrp="1"/>
          </p:cNvSpPr>
          <p:nvPr>
            <p:ph type="pic" idx="14"/>
          </p:nvPr>
        </p:nvSpPr>
        <p:spPr>
          <a:xfrm>
            <a:off x="9883381" y="3880442"/>
            <a:ext cx="1486294" cy="1486294"/>
          </a:xfrm>
          <a:prstGeom prst="ellipse">
            <a:avLst/>
          </a:prstGeom>
          <a:noFill/>
          <a:ln>
            <a:noFill/>
          </a:ln>
        </p:spPr>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0_Custom_Slide">
  <p:cSld name="10_Custom_Slide">
    <p:spTree>
      <p:nvGrpSpPr>
        <p:cNvPr id="1" name="Shape 39"/>
        <p:cNvGrpSpPr/>
        <p:nvPr/>
      </p:nvGrpSpPr>
      <p:grpSpPr>
        <a:xfrm>
          <a:off x="0" y="0"/>
          <a:ext cx="0" cy="0"/>
          <a:chOff x="0" y="0"/>
          <a:chExt cx="0" cy="0"/>
        </a:xfrm>
      </p:grpSpPr>
      <p:sp>
        <p:nvSpPr>
          <p:cNvPr id="40" name="Google Shape;40;p50"/>
          <p:cNvSpPr>
            <a:spLocks noGrp="1"/>
          </p:cNvSpPr>
          <p:nvPr>
            <p:ph type="pic" idx="2"/>
          </p:nvPr>
        </p:nvSpPr>
        <p:spPr>
          <a:xfrm flipH="1">
            <a:off x="7860355" y="0"/>
            <a:ext cx="4331644" cy="6858000"/>
          </a:xfrm>
          <a:prstGeom prst="rect">
            <a:avLst/>
          </a:prstGeom>
          <a:noFill/>
          <a:ln>
            <a:noFill/>
          </a:ln>
        </p:spPr>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image" Target="../media/image2.png"/><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41"/>
          <p:cNvPicPr preferRelativeResize="0"/>
          <p:nvPr/>
        </p:nvPicPr>
        <p:blipFill rotWithShape="1">
          <a:blip r:embed="rId23">
            <a:alphaModFix/>
          </a:blip>
          <a:srcRect/>
          <a:stretch/>
        </p:blipFill>
        <p:spPr>
          <a:xfrm>
            <a:off x="660527" y="6317456"/>
            <a:ext cx="533148" cy="319088"/>
          </a:xfrm>
          <a:prstGeom prst="rect">
            <a:avLst/>
          </a:prstGeom>
          <a:noFill/>
          <a:ln>
            <a:noFill/>
          </a:ln>
        </p:spPr>
      </p:pic>
      <p:pic>
        <p:nvPicPr>
          <p:cNvPr id="11" name="Google Shape;11;p41" descr="ilacRGB"/>
          <p:cNvPicPr preferRelativeResize="0"/>
          <p:nvPr/>
        </p:nvPicPr>
        <p:blipFill rotWithShape="1">
          <a:blip r:embed="rId24">
            <a:alphaModFix/>
          </a:blip>
          <a:srcRect/>
          <a:stretch/>
        </p:blipFill>
        <p:spPr>
          <a:xfrm>
            <a:off x="275431" y="6302011"/>
            <a:ext cx="350838" cy="349978"/>
          </a:xfrm>
          <a:prstGeom prst="rect">
            <a:avLst/>
          </a:prstGeom>
          <a:noFill/>
          <a:ln>
            <a:noFill/>
          </a:ln>
        </p:spPr>
      </p:pic>
      <p:cxnSp>
        <p:nvCxnSpPr>
          <p:cNvPr id="12" name="Google Shape;12;p41"/>
          <p:cNvCxnSpPr/>
          <p:nvPr/>
        </p:nvCxnSpPr>
        <p:spPr>
          <a:xfrm>
            <a:off x="1600200" y="6477000"/>
            <a:ext cx="4908550" cy="0"/>
          </a:xfrm>
          <a:prstGeom prst="straightConnector1">
            <a:avLst/>
          </a:prstGeom>
          <a:noFill/>
          <a:ln w="9525" cap="flat" cmpd="sng">
            <a:solidFill>
              <a:srgbClr val="BFBFBF"/>
            </a:solidFill>
            <a:prstDash val="solid"/>
            <a:miter lim="800000"/>
            <a:headEnd type="none" w="sm" len="sm"/>
            <a:tailEnd type="none" w="sm" len="sm"/>
          </a:ln>
        </p:spPr>
      </p:cxnSp>
      <p:cxnSp>
        <p:nvCxnSpPr>
          <p:cNvPr id="13" name="Google Shape;13;p41"/>
          <p:cNvCxnSpPr/>
          <p:nvPr/>
        </p:nvCxnSpPr>
        <p:spPr>
          <a:xfrm>
            <a:off x="6508750" y="6477000"/>
            <a:ext cx="4772026" cy="0"/>
          </a:xfrm>
          <a:prstGeom prst="straightConnector1">
            <a:avLst/>
          </a:prstGeom>
          <a:noFill/>
          <a:ln w="9525" cap="flat" cmpd="sng">
            <a:solidFill>
              <a:srgbClr val="BFBFBF"/>
            </a:solidFill>
            <a:prstDash val="solid"/>
            <a:miter lim="800000"/>
            <a:headEnd type="none" w="sm" len="sm"/>
            <a:tailEnd type="none" w="sm" len="sm"/>
          </a:ln>
        </p:spPr>
      </p:cxnSp>
      <p:sp>
        <p:nvSpPr>
          <p:cNvPr id="14" name="Google Shape;14;p41"/>
          <p:cNvSpPr txBox="1"/>
          <p:nvPr/>
        </p:nvSpPr>
        <p:spPr>
          <a:xfrm>
            <a:off x="11621685" y="6346195"/>
            <a:ext cx="378630"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fld id="{00000000-1234-1234-1234-123412341234}" type="slidenum">
              <a:rPr lang="en-US" sz="1100" b="0" i="0" u="none" strike="noStrike" cap="none">
                <a:solidFill>
                  <a:schemeClr val="dk1"/>
                </a:solidFill>
                <a:latin typeface="Poppins"/>
                <a:ea typeface="Poppins"/>
                <a:cs typeface="Poppins"/>
                <a:sym typeface="Poppins"/>
              </a:rPr>
              <a:t>‹#›</a:t>
            </a:fld>
            <a:endParaRPr sz="1100" b="0" i="0" u="none" strike="noStrike" cap="none">
              <a:solidFill>
                <a:schemeClr val="dk1"/>
              </a:solidFill>
              <a:latin typeface="Poppins"/>
              <a:ea typeface="Poppins"/>
              <a:cs typeface="Poppins"/>
              <a:sym typeface="Poppins"/>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7440">
          <p15:clr>
            <a:srgbClr val="F26B43"/>
          </p15:clr>
        </p15:guide>
        <p15:guide id="4" pos="240">
          <p15:clr>
            <a:srgbClr val="F26B43"/>
          </p15:clr>
        </p15:guide>
        <p15:guide id="5" orient="horz" pos="240">
          <p15:clr>
            <a:srgbClr val="F26B43"/>
          </p15:clr>
        </p15:guide>
        <p15:guide id="6" orient="horz" pos="40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41"/>
          <p:cNvPicPr preferRelativeResize="0"/>
          <p:nvPr/>
        </p:nvPicPr>
        <p:blipFill rotWithShape="1">
          <a:blip r:embed="rId22">
            <a:alphaModFix/>
          </a:blip>
          <a:srcRect/>
          <a:stretch/>
        </p:blipFill>
        <p:spPr>
          <a:xfrm>
            <a:off x="660527" y="6317456"/>
            <a:ext cx="533148" cy="319088"/>
          </a:xfrm>
          <a:prstGeom prst="rect">
            <a:avLst/>
          </a:prstGeom>
          <a:noFill/>
          <a:ln>
            <a:noFill/>
          </a:ln>
        </p:spPr>
      </p:pic>
      <p:pic>
        <p:nvPicPr>
          <p:cNvPr id="11" name="Google Shape;11;p41" descr="ilacRGB"/>
          <p:cNvPicPr preferRelativeResize="0"/>
          <p:nvPr/>
        </p:nvPicPr>
        <p:blipFill rotWithShape="1">
          <a:blip r:embed="rId23">
            <a:alphaModFix/>
          </a:blip>
          <a:srcRect/>
          <a:stretch/>
        </p:blipFill>
        <p:spPr>
          <a:xfrm>
            <a:off x="275431" y="6302011"/>
            <a:ext cx="350838" cy="349978"/>
          </a:xfrm>
          <a:prstGeom prst="rect">
            <a:avLst/>
          </a:prstGeom>
          <a:noFill/>
          <a:ln>
            <a:noFill/>
          </a:ln>
        </p:spPr>
      </p:pic>
      <p:cxnSp>
        <p:nvCxnSpPr>
          <p:cNvPr id="12" name="Google Shape;12;p41"/>
          <p:cNvCxnSpPr/>
          <p:nvPr/>
        </p:nvCxnSpPr>
        <p:spPr>
          <a:xfrm>
            <a:off x="1600200" y="6477000"/>
            <a:ext cx="4908550" cy="0"/>
          </a:xfrm>
          <a:prstGeom prst="straightConnector1">
            <a:avLst/>
          </a:prstGeom>
          <a:noFill/>
          <a:ln w="9525" cap="flat" cmpd="sng">
            <a:solidFill>
              <a:srgbClr val="BFBFBF"/>
            </a:solidFill>
            <a:prstDash val="solid"/>
            <a:miter lim="800000"/>
            <a:headEnd type="none" w="sm" len="sm"/>
            <a:tailEnd type="none" w="sm" len="sm"/>
          </a:ln>
        </p:spPr>
      </p:cxnSp>
      <p:cxnSp>
        <p:nvCxnSpPr>
          <p:cNvPr id="13" name="Google Shape;13;p41"/>
          <p:cNvCxnSpPr/>
          <p:nvPr/>
        </p:nvCxnSpPr>
        <p:spPr>
          <a:xfrm>
            <a:off x="6508750" y="6477000"/>
            <a:ext cx="4772026" cy="0"/>
          </a:xfrm>
          <a:prstGeom prst="straightConnector1">
            <a:avLst/>
          </a:prstGeom>
          <a:noFill/>
          <a:ln w="9525" cap="flat" cmpd="sng">
            <a:solidFill>
              <a:srgbClr val="BFBFBF"/>
            </a:solidFill>
            <a:prstDash val="solid"/>
            <a:miter lim="800000"/>
            <a:headEnd type="none" w="sm" len="sm"/>
            <a:tailEnd type="none" w="sm" len="sm"/>
          </a:ln>
        </p:spPr>
      </p:cxnSp>
      <p:sp>
        <p:nvSpPr>
          <p:cNvPr id="14" name="Google Shape;14;p41"/>
          <p:cNvSpPr txBox="1"/>
          <p:nvPr/>
        </p:nvSpPr>
        <p:spPr>
          <a:xfrm>
            <a:off x="11621685" y="6346195"/>
            <a:ext cx="378630"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fld id="{00000000-1234-1234-1234-123412341234}" type="slidenum">
              <a:rPr lang="en-US" sz="1100" b="0" i="0" u="none" strike="noStrike" cap="none">
                <a:solidFill>
                  <a:schemeClr val="dk1"/>
                </a:solidFill>
                <a:latin typeface="Poppins"/>
                <a:ea typeface="Poppins"/>
                <a:cs typeface="Poppins"/>
                <a:sym typeface="Poppins"/>
              </a:rPr>
              <a:t>‹#›</a:t>
            </a:fld>
            <a:endParaRPr sz="1100">
              <a:solidFill>
                <a:schemeClr val="dk1"/>
              </a:solidFill>
              <a:latin typeface="Poppins"/>
              <a:ea typeface="Poppins"/>
              <a:cs typeface="Poppins"/>
              <a:sym typeface="Poppins"/>
            </a:endParaRPr>
          </a:p>
        </p:txBody>
      </p:sp>
    </p:spTree>
    <p:extLst>
      <p:ext uri="{BB962C8B-B14F-4D97-AF65-F5344CB8AC3E}">
        <p14:creationId xmlns:p14="http://schemas.microsoft.com/office/powerpoint/2010/main" val="1049200254"/>
      </p:ext>
    </p:extLst>
  </p:cSld>
  <p:clrMap bg1="lt1" tx1="dk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7440">
          <p15:clr>
            <a:srgbClr val="F26B43"/>
          </p15:clr>
        </p15:guide>
        <p15:guide id="4" pos="240">
          <p15:clr>
            <a:srgbClr val="F26B43"/>
          </p15:clr>
        </p15:guide>
        <p15:guide id="5" orient="horz" pos="240">
          <p15:clr>
            <a:srgbClr val="F26B43"/>
          </p15:clr>
        </p15:guide>
        <p15:guide id="6" orient="horz" pos="40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3.jpeg"/><Relationship Id="rId5" Type="http://schemas.openxmlformats.org/officeDocument/2006/relationships/image" Target="../media/image6.jpe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2.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35.jpe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jpe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jpeg"/><Relationship Id="rId4" Type="http://schemas.openxmlformats.org/officeDocument/2006/relationships/image" Target="../media/image26.jpeg"/><Relationship Id="rId9" Type="http://schemas.openxmlformats.org/officeDocument/2006/relationships/image" Target="../media/image31.png"/><Relationship Id="rId14" Type="http://schemas.openxmlformats.org/officeDocument/2006/relationships/image" Target="../media/image36.png"/></Relationships>
</file>

<file path=ppt/slides/_rels/slide13.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jpe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jpeg"/><Relationship Id="rId14" Type="http://schemas.openxmlformats.org/officeDocument/2006/relationships/image" Target="../media/image48.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9.jpeg"/><Relationship Id="rId7" Type="http://schemas.openxmlformats.org/officeDocument/2006/relationships/image" Target="../media/image52.png"/><Relationship Id="rId12" Type="http://schemas.openxmlformats.org/officeDocument/2006/relationships/image" Target="../media/image57.svg"/><Relationship Id="rId2" Type="http://schemas.openxmlformats.org/officeDocument/2006/relationships/notesSlide" Target="../notesSlides/notesSlide15.xml"/><Relationship Id="rId1" Type="http://schemas.openxmlformats.org/officeDocument/2006/relationships/slideLayout" Target="../slideLayouts/slideLayout30.xml"/><Relationship Id="rId6" Type="http://schemas.openxmlformats.org/officeDocument/2006/relationships/image" Target="../media/image51.sv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hyperlink" Target="https://iaf.nu/wp-content/uploads/2024/04/IAF-MLA-Status.pdf" TargetMode="External"/><Relationship Id="rId9"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6.xml"/><Relationship Id="rId1" Type="http://schemas.openxmlformats.org/officeDocument/2006/relationships/slideLayout" Target="../slideLayouts/slideLayout9.xml"/><Relationship Id="rId5" Type="http://schemas.openxmlformats.org/officeDocument/2006/relationships/image" Target="../media/image60.png"/><Relationship Id="rId4" Type="http://schemas.openxmlformats.org/officeDocument/2006/relationships/image" Target="../media/image5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61.jpeg"/><Relationship Id="rId7"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1.jpeg"/><Relationship Id="rId7"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66.png"/><Relationship Id="rId7" Type="http://schemas.openxmlformats.org/officeDocument/2006/relationships/image" Target="../media/image70.jpeg"/><Relationship Id="rId12" Type="http://schemas.openxmlformats.org/officeDocument/2006/relationships/image" Target="../media/image75.jpe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69.jpe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jpeg"/><Relationship Id="rId4" Type="http://schemas.openxmlformats.org/officeDocument/2006/relationships/image" Target="../media/image67.jpeg"/><Relationship Id="rId9" Type="http://schemas.openxmlformats.org/officeDocument/2006/relationships/image" Target="../media/image72.jpeg"/></Relationships>
</file>

<file path=ppt/slides/_rels/slide21.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image" Target="../media/image76.jpeg"/><Relationship Id="rId7" Type="http://schemas.openxmlformats.org/officeDocument/2006/relationships/image" Target="../media/image80.jpe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jpeg"/><Relationship Id="rId9" Type="http://schemas.openxmlformats.org/officeDocument/2006/relationships/image" Target="../media/image82.jpeg"/></Relationships>
</file>

<file path=ppt/slides/_rels/slide2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slideLayout" Target="../slideLayouts/slideLayout2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notesSlide" Target="../notesSlides/notesSlide2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23.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3.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jpeg"/><Relationship Id="rId7" Type="http://schemas.openxmlformats.org/officeDocument/2006/relationships/image" Target="../media/image88.png"/><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11.xml"/><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7.xml"/><Relationship Id="rId1" Type="http://schemas.openxmlformats.org/officeDocument/2006/relationships/slideLayout" Target="../slideLayouts/slideLayout12.xml"/><Relationship Id="rId6" Type="http://schemas.openxmlformats.org/officeDocument/2006/relationships/image" Target="../media/image93.jpeg"/><Relationship Id="rId5" Type="http://schemas.openxmlformats.org/officeDocument/2006/relationships/image" Target="../media/image92.png"/><Relationship Id="rId4" Type="http://schemas.openxmlformats.org/officeDocument/2006/relationships/image" Target="../media/image91.png"/></Relationships>
</file>

<file path=ppt/slides/_rels/slide2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9.xml"/><Relationship Id="rId1" Type="http://schemas.openxmlformats.org/officeDocument/2006/relationships/slideLayout" Target="../slideLayouts/slideLayout13.xml"/><Relationship Id="rId6" Type="http://schemas.openxmlformats.org/officeDocument/2006/relationships/image" Target="../media/image96.png"/><Relationship Id="rId5" Type="http://schemas.openxmlformats.org/officeDocument/2006/relationships/hyperlink" Target="https://business-benefits.org/" TargetMode="External"/><Relationship Id="rId4" Type="http://schemas.openxmlformats.org/officeDocument/2006/relationships/image" Target="../media/image3.jpeg"/></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8.png"/><Relationship Id="rId7"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32.xml.rels><?xml version="1.0" encoding="UTF-8" standalone="yes"?>
<Relationships xmlns="http://schemas.openxmlformats.org/package/2006/relationships"><Relationship Id="rId8" Type="http://schemas.openxmlformats.org/officeDocument/2006/relationships/image" Target="../media/image102.gif"/><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jpeg"/><Relationship Id="rId12" Type="http://schemas.openxmlformats.org/officeDocument/2006/relationships/image" Target="../media/image106.jpeg"/><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image" Target="../media/image100.png"/><Relationship Id="rId11" Type="http://schemas.openxmlformats.org/officeDocument/2006/relationships/image" Target="../media/image105.jpeg"/><Relationship Id="rId5" Type="http://schemas.openxmlformats.org/officeDocument/2006/relationships/image" Target="../media/image99.png"/><Relationship Id="rId10" Type="http://schemas.openxmlformats.org/officeDocument/2006/relationships/image" Target="../media/image104.jpe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33.xml.rels><?xml version="1.0" encoding="UTF-8" standalone="yes"?>
<Relationships xmlns="http://schemas.openxmlformats.org/package/2006/relationships"><Relationship Id="rId8" Type="http://schemas.openxmlformats.org/officeDocument/2006/relationships/image" Target="../media/image115.jpeg"/><Relationship Id="rId3" Type="http://schemas.openxmlformats.org/officeDocument/2006/relationships/image" Target="../media/image110.jpeg"/><Relationship Id="rId7" Type="http://schemas.openxmlformats.org/officeDocument/2006/relationships/image" Target="../media/image114.png"/><Relationship Id="rId2" Type="http://schemas.openxmlformats.org/officeDocument/2006/relationships/image" Target="../media/image109.png"/><Relationship Id="rId1" Type="http://schemas.openxmlformats.org/officeDocument/2006/relationships/slideLayout" Target="../slideLayouts/slideLayout13.xml"/><Relationship Id="rId6" Type="http://schemas.openxmlformats.org/officeDocument/2006/relationships/image" Target="../media/image113.jpeg"/><Relationship Id="rId5" Type="http://schemas.openxmlformats.org/officeDocument/2006/relationships/image" Target="../media/image112.jpeg"/><Relationship Id="rId4" Type="http://schemas.openxmlformats.org/officeDocument/2006/relationships/image" Target="../media/image111.gif"/><Relationship Id="rId9" Type="http://schemas.openxmlformats.org/officeDocument/2006/relationships/image" Target="../media/image116.png"/></Relationships>
</file>

<file path=ppt/slides/_rels/slide34.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image" Target="../media/image2.png"/><Relationship Id="rId7" Type="http://schemas.openxmlformats.org/officeDocument/2006/relationships/image" Target="../media/image118.png"/><Relationship Id="rId12" Type="http://schemas.openxmlformats.org/officeDocument/2006/relationships/image" Target="../media/image122.png"/><Relationship Id="rId2" Type="http://schemas.openxmlformats.org/officeDocument/2006/relationships/notesSlide" Target="../notesSlides/notesSlide33.xml"/><Relationship Id="rId1" Type="http://schemas.openxmlformats.org/officeDocument/2006/relationships/slideLayout" Target="../slideLayouts/slideLayout13.xml"/><Relationship Id="rId6" Type="http://schemas.openxmlformats.org/officeDocument/2006/relationships/image" Target="../media/image100.png"/><Relationship Id="rId11" Type="http://schemas.openxmlformats.org/officeDocument/2006/relationships/image" Target="../media/image107.png"/><Relationship Id="rId5" Type="http://schemas.openxmlformats.org/officeDocument/2006/relationships/image" Target="../media/image103.png"/><Relationship Id="rId10" Type="http://schemas.openxmlformats.org/officeDocument/2006/relationships/image" Target="../media/image121.png"/><Relationship Id="rId4" Type="http://schemas.openxmlformats.org/officeDocument/2006/relationships/image" Target="../media/image117.png"/><Relationship Id="rId9" Type="http://schemas.openxmlformats.org/officeDocument/2006/relationships/image" Target="../media/image120.png"/></Relationships>
</file>

<file path=ppt/slides/_rels/slide35.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emf"/><Relationship Id="rId2" Type="http://schemas.openxmlformats.org/officeDocument/2006/relationships/notesSlide" Target="../notesSlides/notesSlide34.xml"/><Relationship Id="rId1" Type="http://schemas.openxmlformats.org/officeDocument/2006/relationships/slideLayout" Target="../slideLayouts/slideLayout13.xml"/><Relationship Id="rId6" Type="http://schemas.openxmlformats.org/officeDocument/2006/relationships/image" Target="../media/image126.jpe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png"/><Relationship Id="rId4" Type="http://schemas.openxmlformats.org/officeDocument/2006/relationships/image" Target="../media/image124.png"/><Relationship Id="rId9" Type="http://schemas.openxmlformats.org/officeDocument/2006/relationships/image" Target="../media/image129.png"/></Relationships>
</file>

<file path=ppt/slides/_rels/slide36.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notesSlide" Target="../notesSlides/notesSlide38.xml"/><Relationship Id="rId1" Type="http://schemas.openxmlformats.org/officeDocument/2006/relationships/slideLayout" Target="../slideLayouts/slideLayout15.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 Id="rId9" Type="http://schemas.openxmlformats.org/officeDocument/2006/relationships/image" Target="../media/image140.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8" Type="http://schemas.openxmlformats.org/officeDocument/2006/relationships/image" Target="../media/image146.png"/><Relationship Id="rId13" Type="http://schemas.openxmlformats.org/officeDocument/2006/relationships/image" Target="../media/image151.png"/><Relationship Id="rId18" Type="http://schemas.openxmlformats.org/officeDocument/2006/relationships/image" Target="../media/image155.png"/><Relationship Id="rId3" Type="http://schemas.openxmlformats.org/officeDocument/2006/relationships/image" Target="../media/image142.jpeg"/><Relationship Id="rId7" Type="http://schemas.openxmlformats.org/officeDocument/2006/relationships/image" Target="../media/image145.png"/><Relationship Id="rId12" Type="http://schemas.openxmlformats.org/officeDocument/2006/relationships/image" Target="../media/image150.png"/><Relationship Id="rId17" Type="http://schemas.openxmlformats.org/officeDocument/2006/relationships/image" Target="../media/image154.png"/><Relationship Id="rId2" Type="http://schemas.openxmlformats.org/officeDocument/2006/relationships/notesSlide" Target="../notesSlides/notesSlide40.xml"/><Relationship Id="rId16" Type="http://schemas.microsoft.com/office/2007/relationships/hdphoto" Target="../media/hdphoto1.wdp"/><Relationship Id="rId1" Type="http://schemas.openxmlformats.org/officeDocument/2006/relationships/slideLayout" Target="../slideLayouts/slideLayout18.xml"/><Relationship Id="rId6" Type="http://schemas.openxmlformats.org/officeDocument/2006/relationships/image" Target="../media/image144.png"/><Relationship Id="rId11" Type="http://schemas.openxmlformats.org/officeDocument/2006/relationships/image" Target="../media/image149.png"/><Relationship Id="rId5" Type="http://schemas.openxmlformats.org/officeDocument/2006/relationships/image" Target="../media/image143.png"/><Relationship Id="rId15" Type="http://schemas.openxmlformats.org/officeDocument/2006/relationships/image" Target="../media/image153.png"/><Relationship Id="rId10" Type="http://schemas.openxmlformats.org/officeDocument/2006/relationships/image" Target="../media/image148.png"/><Relationship Id="rId19" Type="http://schemas.microsoft.com/office/2007/relationships/hdphoto" Target="../media/hdphoto2.wdp"/><Relationship Id="rId4" Type="http://schemas.openxmlformats.org/officeDocument/2006/relationships/image" Target="../media/image3.jpeg"/><Relationship Id="rId9" Type="http://schemas.openxmlformats.org/officeDocument/2006/relationships/image" Target="../media/image147.png"/><Relationship Id="rId14" Type="http://schemas.openxmlformats.org/officeDocument/2006/relationships/image" Target="../media/image152.png"/></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3.jpe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3.jpe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lt1"/>
        </a:solidFill>
        <a:effectLst/>
      </p:bgPr>
    </p:bg>
    <p:spTree>
      <p:nvGrpSpPr>
        <p:cNvPr id="1" name="Shape 66"/>
        <p:cNvGrpSpPr/>
        <p:nvPr/>
      </p:nvGrpSpPr>
      <p:grpSpPr>
        <a:xfrm>
          <a:off x="0" y="0"/>
          <a:ext cx="0" cy="0"/>
          <a:chOff x="0" y="0"/>
          <a:chExt cx="0" cy="0"/>
        </a:xfrm>
      </p:grpSpPr>
      <p:sp>
        <p:nvSpPr>
          <p:cNvPr id="67" name="Google Shape;67;p1"/>
          <p:cNvSpPr/>
          <p:nvPr/>
        </p:nvSpPr>
        <p:spPr>
          <a:xfrm>
            <a:off x="7733550" y="0"/>
            <a:ext cx="4064906" cy="3802886"/>
          </a:xfrm>
          <a:custGeom>
            <a:avLst/>
            <a:gdLst/>
            <a:ahLst/>
            <a:cxnLst/>
            <a:rect l="l" t="t" r="r" b="b"/>
            <a:pathLst>
              <a:path w="4064906" h="3802886" extrusionOk="0">
                <a:moveTo>
                  <a:pt x="0" y="0"/>
                </a:moveTo>
                <a:lnTo>
                  <a:pt x="3338709" y="0"/>
                </a:lnTo>
                <a:lnTo>
                  <a:pt x="3577745" y="163517"/>
                </a:lnTo>
                <a:cubicBezTo>
                  <a:pt x="3737886" y="276862"/>
                  <a:pt x="3900490" y="402528"/>
                  <a:pt x="3989183" y="577473"/>
                </a:cubicBezTo>
                <a:cubicBezTo>
                  <a:pt x="4109904" y="821412"/>
                  <a:pt x="4060630" y="1109703"/>
                  <a:pt x="4016284" y="1378282"/>
                </a:cubicBezTo>
                <a:cubicBezTo>
                  <a:pt x="3890635" y="2156915"/>
                  <a:pt x="3833970" y="2947868"/>
                  <a:pt x="3848752" y="3736357"/>
                </a:cubicBezTo>
                <a:lnTo>
                  <a:pt x="3888172" y="3802886"/>
                </a:lnTo>
                <a:cubicBezTo>
                  <a:pt x="3691076" y="3588515"/>
                  <a:pt x="3479197" y="3374145"/>
                  <a:pt x="3210654" y="3260800"/>
                </a:cubicBezTo>
                <a:cubicBezTo>
                  <a:pt x="2873127" y="3117886"/>
                  <a:pt x="2491253" y="3152382"/>
                  <a:pt x="2124162" y="3130206"/>
                </a:cubicBezTo>
                <a:cubicBezTo>
                  <a:pt x="1757070" y="3105566"/>
                  <a:pt x="1353024" y="2997149"/>
                  <a:pt x="1165782" y="2684217"/>
                </a:cubicBezTo>
                <a:cubicBezTo>
                  <a:pt x="961295" y="2344181"/>
                  <a:pt x="1084480" y="1912977"/>
                  <a:pt x="1037670" y="1521196"/>
                </a:cubicBezTo>
                <a:cubicBezTo>
                  <a:pt x="966222" y="912581"/>
                  <a:pt x="493192" y="439488"/>
                  <a:pt x="34944" y="32923"/>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68" name="Google Shape;68;p1"/>
          <p:cNvSpPr/>
          <p:nvPr/>
        </p:nvSpPr>
        <p:spPr>
          <a:xfrm>
            <a:off x="6616952" y="0"/>
            <a:ext cx="5575048" cy="6858000"/>
          </a:xfrm>
          <a:custGeom>
            <a:avLst/>
            <a:gdLst/>
            <a:ahLst/>
            <a:cxnLst/>
            <a:rect l="l" t="t" r="r" b="b"/>
            <a:pathLst>
              <a:path w="5575048" h="6858000" extrusionOk="0">
                <a:moveTo>
                  <a:pt x="3299373" y="0"/>
                </a:moveTo>
                <a:lnTo>
                  <a:pt x="5575048" y="0"/>
                </a:lnTo>
                <a:lnTo>
                  <a:pt x="5575048" y="6858000"/>
                </a:lnTo>
                <a:lnTo>
                  <a:pt x="1046983" y="6858000"/>
                </a:lnTo>
                <a:lnTo>
                  <a:pt x="883503" y="6631786"/>
                </a:lnTo>
                <a:cubicBezTo>
                  <a:pt x="256614" y="5721564"/>
                  <a:pt x="-245659" y="4565454"/>
                  <a:pt x="128166" y="3531258"/>
                </a:cubicBezTo>
                <a:cubicBezTo>
                  <a:pt x="532455" y="2405067"/>
                  <a:pt x="1757626" y="1876636"/>
                  <a:pt x="2575106" y="1023149"/>
                </a:cubicBezTo>
                <a:cubicBezTo>
                  <a:pt x="2813661" y="775111"/>
                  <a:pt x="3014916" y="502905"/>
                  <a:pt x="3185033" y="212123"/>
                </a:cubicBezTo>
                <a:close/>
              </a:path>
            </a:pathLst>
          </a:custGeom>
          <a:solidFill>
            <a:srgbClr val="06367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69" name="Google Shape;69;p1"/>
          <p:cNvSpPr txBox="1"/>
          <p:nvPr/>
        </p:nvSpPr>
        <p:spPr>
          <a:xfrm>
            <a:off x="381000" y="3461870"/>
            <a:ext cx="6538058" cy="107721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3200"/>
              <a:buFont typeface="Arial"/>
              <a:buNone/>
            </a:pPr>
            <a:r>
              <a:rPr lang="en-US" sz="3200" b="1" i="0" u="none" strike="noStrike" cap="none">
                <a:solidFill>
                  <a:schemeClr val="dk1"/>
                </a:solidFill>
                <a:latin typeface="Montserrat"/>
                <a:ea typeface="Montserrat"/>
                <a:cs typeface="Montserrat"/>
                <a:sym typeface="Montserrat"/>
              </a:rPr>
              <a:t>THE GLOBAL </a:t>
            </a:r>
            <a:r>
              <a:rPr lang="en-US" sz="3200" b="1" i="0" u="none" strike="noStrike" cap="none">
                <a:solidFill>
                  <a:schemeClr val="accent1"/>
                </a:solidFill>
                <a:latin typeface="Montserrat"/>
                <a:ea typeface="Montserrat"/>
                <a:cs typeface="Montserrat"/>
                <a:sym typeface="Montserrat"/>
              </a:rPr>
              <a:t>ACCREDITATION SYSTEM</a:t>
            </a:r>
            <a:endParaRPr sz="3600" b="1" i="0" u="none" strike="noStrike" cap="none">
              <a:solidFill>
                <a:schemeClr val="accent1"/>
              </a:solidFill>
              <a:latin typeface="Montserrat"/>
              <a:ea typeface="Montserrat"/>
              <a:cs typeface="Montserrat"/>
              <a:sym typeface="Montserrat"/>
            </a:endParaRPr>
          </a:p>
        </p:txBody>
      </p:sp>
      <p:sp>
        <p:nvSpPr>
          <p:cNvPr id="70" name="Google Shape;70;p1"/>
          <p:cNvSpPr txBox="1"/>
          <p:nvPr/>
        </p:nvSpPr>
        <p:spPr>
          <a:xfrm>
            <a:off x="383555" y="4536148"/>
            <a:ext cx="4091940" cy="4001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a:solidFill>
                  <a:srgbClr val="0000E7"/>
                </a:solidFill>
                <a:latin typeface="Poppins"/>
                <a:ea typeface="Poppins"/>
                <a:cs typeface="Poppins"/>
                <a:sym typeface="Poppins"/>
              </a:rPr>
              <a:t>The ILAC and IAF Handbook</a:t>
            </a:r>
            <a:endParaRPr sz="1400" b="0" i="0" u="none" strike="noStrike" cap="none">
              <a:solidFill>
                <a:srgbClr val="000000"/>
              </a:solidFill>
              <a:latin typeface="Arial"/>
              <a:ea typeface="Arial"/>
              <a:cs typeface="Arial"/>
              <a:sym typeface="Arial"/>
            </a:endParaRPr>
          </a:p>
        </p:txBody>
      </p:sp>
      <p:pic>
        <p:nvPicPr>
          <p:cNvPr id="71" name="Google Shape;71;p1" descr="ilacRGB"/>
          <p:cNvPicPr preferRelativeResize="0"/>
          <p:nvPr/>
        </p:nvPicPr>
        <p:blipFill rotWithShape="1">
          <a:blip r:embed="rId3">
            <a:alphaModFix/>
          </a:blip>
          <a:srcRect/>
          <a:stretch/>
        </p:blipFill>
        <p:spPr>
          <a:xfrm>
            <a:off x="564106" y="1647450"/>
            <a:ext cx="1366212" cy="1368412"/>
          </a:xfrm>
          <a:prstGeom prst="rect">
            <a:avLst/>
          </a:prstGeom>
          <a:noFill/>
          <a:ln>
            <a:noFill/>
          </a:ln>
        </p:spPr>
      </p:pic>
      <p:pic>
        <p:nvPicPr>
          <p:cNvPr id="72" name="Google Shape;72;p1" descr="A picture containing logo&#10;&#10;Description automatically generated"/>
          <p:cNvPicPr preferRelativeResize="0"/>
          <p:nvPr/>
        </p:nvPicPr>
        <p:blipFill rotWithShape="1">
          <a:blip r:embed="rId4">
            <a:alphaModFix/>
          </a:blip>
          <a:srcRect/>
          <a:stretch/>
        </p:blipFill>
        <p:spPr>
          <a:xfrm>
            <a:off x="2096968" y="1809302"/>
            <a:ext cx="1783166" cy="1113959"/>
          </a:xfrm>
          <a:prstGeom prst="rect">
            <a:avLst/>
          </a:prstGeom>
          <a:noFill/>
          <a:ln>
            <a:noFill/>
          </a:ln>
        </p:spPr>
      </p:pic>
      <p:pic>
        <p:nvPicPr>
          <p:cNvPr id="73" name="Google Shape;73;p1" descr="A picture containing night, ocean floor&#10;&#10;Description automatically generated"/>
          <p:cNvPicPr preferRelativeResize="0">
            <a:picLocks noGrp="1"/>
          </p:cNvPicPr>
          <p:nvPr>
            <p:ph type="pic" idx="2"/>
          </p:nvPr>
        </p:nvPicPr>
        <p:blipFill rotWithShape="1">
          <a:blip r:embed="rId5">
            <a:alphaModFix/>
          </a:blip>
          <a:srcRect l="46088" r="1338"/>
          <a:stretch/>
        </p:blipFill>
        <p:spPr>
          <a:xfrm>
            <a:off x="6783602" y="0"/>
            <a:ext cx="5408398" cy="6858000"/>
          </a:xfrm>
          <a:prstGeom prst="rect">
            <a:avLst/>
          </a:prstGeom>
          <a:blipFill rotWithShape="1">
            <a:blip r:embed="rId6">
              <a:alphaModFix/>
            </a:blip>
            <a:tile tx="0" ty="0" sx="100000" sy="100000" flip="none" algn="tl"/>
          </a:blipFill>
          <a:ln>
            <a:noFill/>
          </a:ln>
        </p:spPr>
      </p:pic>
      <p:sp>
        <p:nvSpPr>
          <p:cNvPr id="74" name="Google Shape;74;p1"/>
          <p:cNvSpPr/>
          <p:nvPr/>
        </p:nvSpPr>
        <p:spPr>
          <a:xfrm>
            <a:off x="7103259" y="1642840"/>
            <a:ext cx="1291830" cy="1291830"/>
          </a:xfrm>
          <a:prstGeom prst="ellipse">
            <a:avLst/>
          </a:prstGeom>
          <a:solidFill>
            <a:srgbClr val="06367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5" name="Google Shape;75;p1"/>
          <p:cNvSpPr/>
          <p:nvPr/>
        </p:nvSpPr>
        <p:spPr>
          <a:xfrm>
            <a:off x="7186117" y="1725698"/>
            <a:ext cx="1126114" cy="1126114"/>
          </a:xfrm>
          <a:prstGeom prst="ellipse">
            <a:avLst/>
          </a:prstGeom>
          <a:no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76" name="Google Shape;76;p1"/>
          <p:cNvPicPr preferRelativeResize="0"/>
          <p:nvPr/>
        </p:nvPicPr>
        <p:blipFill rotWithShape="1">
          <a:blip r:embed="rId7">
            <a:alphaModFix/>
          </a:blip>
          <a:srcRect/>
          <a:stretch/>
        </p:blipFill>
        <p:spPr>
          <a:xfrm>
            <a:off x="7406860" y="1946441"/>
            <a:ext cx="684628" cy="684628"/>
          </a:xfrm>
          <a:prstGeom prst="rect">
            <a:avLst/>
          </a:prstGeom>
          <a:noFill/>
          <a:ln>
            <a:noFill/>
          </a:ln>
        </p:spPr>
      </p:pic>
      <p:sp>
        <p:nvSpPr>
          <p:cNvPr id="2" name="Google Shape;70;p1">
            <a:extLst>
              <a:ext uri="{FF2B5EF4-FFF2-40B4-BE49-F238E27FC236}">
                <a16:creationId xmlns:a16="http://schemas.microsoft.com/office/drawing/2014/main" id="{1BDE3CAB-B37A-ABF0-AA73-25B94F8C870A}"/>
              </a:ext>
            </a:extLst>
          </p:cNvPr>
          <p:cNvSpPr txBox="1"/>
          <p:nvPr/>
        </p:nvSpPr>
        <p:spPr>
          <a:xfrm>
            <a:off x="383555" y="5730209"/>
            <a:ext cx="4091940" cy="307736"/>
          </a:xfrm>
          <a:prstGeom prst="rect">
            <a:avLst/>
          </a:prstGeom>
          <a:noFill/>
          <a:ln>
            <a:noFill/>
          </a:ln>
        </p:spPr>
        <p:txBody>
          <a:bodyPr spcFirstLastPara="1" wrap="square" lIns="91425" tIns="45700" rIns="91425" bIns="45700" anchor="t" anchorCtr="0">
            <a:spAutoFit/>
          </a:bodyPr>
          <a:lstStyle/>
          <a:p>
            <a:pPr>
              <a:buSzPts val="2000"/>
            </a:pPr>
            <a:r>
              <a:rPr lang="en-US" b="1" dirty="0">
                <a:latin typeface="Poppins"/>
                <a:ea typeface="Poppins"/>
                <a:cs typeface="Poppins"/>
                <a:sym typeface="Poppins"/>
              </a:rPr>
              <a:t>Updated on 10 June 2025</a:t>
            </a:r>
            <a:endParaRPr lang="en-US" b="1" i="0" u="none" strike="noStrike" cap="none" dirty="0">
              <a:latin typeface="Poppins"/>
              <a:cs typeface="Poppin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01"/>
        <p:cNvGrpSpPr/>
        <p:nvPr/>
      </p:nvGrpSpPr>
      <p:grpSpPr>
        <a:xfrm>
          <a:off x="0" y="0"/>
          <a:ext cx="0" cy="0"/>
          <a:chOff x="0" y="0"/>
          <a:chExt cx="0" cy="0"/>
        </a:xfrm>
      </p:grpSpPr>
      <p:sp>
        <p:nvSpPr>
          <p:cNvPr id="402" name="Google Shape;402;p10"/>
          <p:cNvSpPr txBox="1"/>
          <p:nvPr/>
        </p:nvSpPr>
        <p:spPr>
          <a:xfrm>
            <a:off x="800414" y="760078"/>
            <a:ext cx="3525319"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STRUCTURE</a:t>
            </a:r>
            <a:endParaRPr sz="1400" b="0" i="0" u="none" strike="noStrike" cap="none">
              <a:solidFill>
                <a:srgbClr val="000000"/>
              </a:solidFill>
              <a:latin typeface="Arial"/>
              <a:ea typeface="Arial"/>
              <a:cs typeface="Arial"/>
              <a:sym typeface="Arial"/>
            </a:endParaRPr>
          </a:p>
        </p:txBody>
      </p:sp>
      <p:pic>
        <p:nvPicPr>
          <p:cNvPr id="403" name="Google Shape;403;p10"/>
          <p:cNvPicPr preferRelativeResize="0">
            <a:picLocks noGrp="1"/>
          </p:cNvPicPr>
          <p:nvPr>
            <p:ph type="pic" idx="2"/>
          </p:nvPr>
        </p:nvPicPr>
        <p:blipFill rotWithShape="1">
          <a:blip r:embed="rId3">
            <a:alphaModFix/>
          </a:blip>
          <a:srcRect l="355" r="26625"/>
          <a:stretch/>
        </p:blipFill>
        <p:spPr>
          <a:xfrm>
            <a:off x="5801559" y="2"/>
            <a:ext cx="6390441" cy="5831220"/>
          </a:xfrm>
          <a:prstGeom prst="rect">
            <a:avLst/>
          </a:prstGeom>
          <a:noFill/>
          <a:ln>
            <a:noFill/>
          </a:ln>
        </p:spPr>
      </p:pic>
      <p:cxnSp>
        <p:nvCxnSpPr>
          <p:cNvPr id="404" name="Google Shape;404;p10"/>
          <p:cNvCxnSpPr/>
          <p:nvPr/>
        </p:nvCxnSpPr>
        <p:spPr>
          <a:xfrm>
            <a:off x="929891" y="1374465"/>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405" name="Google Shape;405;p10"/>
          <p:cNvSpPr/>
          <p:nvPr/>
        </p:nvSpPr>
        <p:spPr>
          <a:xfrm>
            <a:off x="929891" y="1800389"/>
            <a:ext cx="2687484" cy="4190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06" name="Google Shape;406;p10"/>
          <p:cNvGrpSpPr/>
          <p:nvPr/>
        </p:nvGrpSpPr>
        <p:grpSpPr>
          <a:xfrm>
            <a:off x="1098256" y="3527634"/>
            <a:ext cx="2350754" cy="1925326"/>
            <a:chOff x="563684" y="3527634"/>
            <a:chExt cx="2350754" cy="1925326"/>
          </a:xfrm>
        </p:grpSpPr>
        <p:sp>
          <p:nvSpPr>
            <p:cNvPr id="407" name="Google Shape;407;p10"/>
            <p:cNvSpPr txBox="1"/>
            <p:nvPr/>
          </p:nvSpPr>
          <p:spPr>
            <a:xfrm>
              <a:off x="563684" y="4067965"/>
              <a:ext cx="2350754" cy="138499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highest level of authority in IAF is the Members, who make decisions and lay down policies in Annual Meetings or via ballots (Section 3.02 of the IAF Bylaws).</a:t>
              </a:r>
              <a:endParaRPr sz="1400" b="0" i="0" u="none" strike="noStrike" cap="none">
                <a:solidFill>
                  <a:srgbClr val="000000"/>
                </a:solidFill>
                <a:latin typeface="Arial"/>
                <a:ea typeface="Arial"/>
                <a:cs typeface="Arial"/>
                <a:sym typeface="Arial"/>
              </a:endParaRPr>
            </a:p>
          </p:txBody>
        </p:sp>
        <p:sp>
          <p:nvSpPr>
            <p:cNvPr id="408" name="Google Shape;408;p10"/>
            <p:cNvSpPr txBox="1"/>
            <p:nvPr/>
          </p:nvSpPr>
          <p:spPr>
            <a:xfrm>
              <a:off x="563684" y="3527634"/>
              <a:ext cx="2350754"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Members</a:t>
              </a:r>
              <a:endParaRPr sz="1400" b="0" i="0" u="none" strike="noStrike" cap="none">
                <a:solidFill>
                  <a:srgbClr val="000000"/>
                </a:solidFill>
                <a:latin typeface="Arial"/>
                <a:ea typeface="Arial"/>
                <a:cs typeface="Arial"/>
                <a:sym typeface="Arial"/>
              </a:endParaRPr>
            </a:p>
          </p:txBody>
        </p:sp>
      </p:grpSp>
      <p:sp>
        <p:nvSpPr>
          <p:cNvPr id="409" name="Google Shape;409;p10"/>
          <p:cNvSpPr/>
          <p:nvPr/>
        </p:nvSpPr>
        <p:spPr>
          <a:xfrm>
            <a:off x="1598533" y="1919878"/>
            <a:ext cx="1350200" cy="1350200"/>
          </a:xfrm>
          <a:prstGeom prst="ellipse">
            <a:avLst/>
          </a:prstGeom>
          <a:solidFill>
            <a:schemeClr val="lt1"/>
          </a:solidFill>
          <a:ln w="9525" cap="flat" cmpd="sng">
            <a:solidFill>
              <a:srgbClr val="F2F2F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10" name="Google Shape;410;p10"/>
          <p:cNvSpPr txBox="1"/>
          <p:nvPr/>
        </p:nvSpPr>
        <p:spPr>
          <a:xfrm>
            <a:off x="1860273" y="2333368"/>
            <a:ext cx="82672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sp>
        <p:nvSpPr>
          <p:cNvPr id="411" name="Google Shape;411;p10"/>
          <p:cNvSpPr/>
          <p:nvPr/>
        </p:nvSpPr>
        <p:spPr>
          <a:xfrm>
            <a:off x="3939807" y="1800389"/>
            <a:ext cx="2687484" cy="4190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12" name="Google Shape;412;p10"/>
          <p:cNvGrpSpPr/>
          <p:nvPr/>
        </p:nvGrpSpPr>
        <p:grpSpPr>
          <a:xfrm>
            <a:off x="4049761" y="3527634"/>
            <a:ext cx="2467576" cy="2109991"/>
            <a:chOff x="3515189" y="3527634"/>
            <a:chExt cx="2467576" cy="2109991"/>
          </a:xfrm>
        </p:grpSpPr>
        <p:sp>
          <p:nvSpPr>
            <p:cNvPr id="413" name="Google Shape;413;p10"/>
            <p:cNvSpPr txBox="1"/>
            <p:nvPr/>
          </p:nvSpPr>
          <p:spPr>
            <a:xfrm>
              <a:off x="3515189" y="4067965"/>
              <a:ext cx="2467576" cy="156966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Board is responsible for legal actions, for developing broad policy directions for IAF, and for ensuring that the day-to-day work of IAF is carried out in accordance with policies approved by Members. </a:t>
              </a:r>
              <a:endParaRPr sz="1400" b="0" i="0" u="none" strike="noStrike" cap="none">
                <a:solidFill>
                  <a:srgbClr val="000000"/>
                </a:solidFill>
                <a:latin typeface="Arial"/>
                <a:ea typeface="Arial"/>
                <a:cs typeface="Arial"/>
                <a:sym typeface="Arial"/>
              </a:endParaRPr>
            </a:p>
          </p:txBody>
        </p:sp>
        <p:sp>
          <p:nvSpPr>
            <p:cNvPr id="414" name="Google Shape;414;p10"/>
            <p:cNvSpPr txBox="1"/>
            <p:nvPr/>
          </p:nvSpPr>
          <p:spPr>
            <a:xfrm>
              <a:off x="3660559" y="3527634"/>
              <a:ext cx="217683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Board of Directors (BOD)</a:t>
              </a:r>
              <a:endParaRPr sz="1400" b="0" i="0" u="none" strike="noStrike" cap="none">
                <a:solidFill>
                  <a:srgbClr val="000000"/>
                </a:solidFill>
                <a:latin typeface="Arial"/>
                <a:ea typeface="Arial"/>
                <a:cs typeface="Arial"/>
                <a:sym typeface="Arial"/>
              </a:endParaRPr>
            </a:p>
          </p:txBody>
        </p:sp>
      </p:grpSp>
      <p:sp>
        <p:nvSpPr>
          <p:cNvPr id="415" name="Google Shape;415;p10"/>
          <p:cNvSpPr/>
          <p:nvPr/>
        </p:nvSpPr>
        <p:spPr>
          <a:xfrm>
            <a:off x="4608449" y="1919878"/>
            <a:ext cx="1350200" cy="1350200"/>
          </a:xfrm>
          <a:prstGeom prst="ellipse">
            <a:avLst/>
          </a:prstGeom>
          <a:solidFill>
            <a:schemeClr val="lt1"/>
          </a:solidFill>
          <a:ln w="9525" cap="flat" cmpd="sng">
            <a:solidFill>
              <a:srgbClr val="F2F2F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16" name="Google Shape;416;p10"/>
          <p:cNvSpPr txBox="1"/>
          <p:nvPr/>
        </p:nvSpPr>
        <p:spPr>
          <a:xfrm>
            <a:off x="4870189" y="2333368"/>
            <a:ext cx="82672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
        <p:nvSpPr>
          <p:cNvPr id="417" name="Google Shape;417;p10"/>
          <p:cNvSpPr/>
          <p:nvPr/>
        </p:nvSpPr>
        <p:spPr>
          <a:xfrm>
            <a:off x="6949722" y="1800389"/>
            <a:ext cx="2687484" cy="4190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18" name="Google Shape;418;p10"/>
          <p:cNvGrpSpPr/>
          <p:nvPr/>
        </p:nvGrpSpPr>
        <p:grpSpPr>
          <a:xfrm>
            <a:off x="7059676" y="3527634"/>
            <a:ext cx="2467576" cy="1740660"/>
            <a:chOff x="6525104" y="3527634"/>
            <a:chExt cx="2467576" cy="1740660"/>
          </a:xfrm>
        </p:grpSpPr>
        <p:sp>
          <p:nvSpPr>
            <p:cNvPr id="419" name="Google Shape;419;p10"/>
            <p:cNvSpPr txBox="1"/>
            <p:nvPr/>
          </p:nvSpPr>
          <p:spPr>
            <a:xfrm>
              <a:off x="6525104" y="4067965"/>
              <a:ext cx="2467576" cy="120032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Executive Committee is responsible to the Board for the day-to-day work of IAF on the basis of decisions made by the Members and directions by the Board. </a:t>
              </a:r>
              <a:endParaRPr sz="1400" b="0" i="0" u="none" strike="noStrike" cap="none">
                <a:solidFill>
                  <a:srgbClr val="000000"/>
                </a:solidFill>
                <a:latin typeface="Arial"/>
                <a:ea typeface="Arial"/>
                <a:cs typeface="Arial"/>
                <a:sym typeface="Arial"/>
              </a:endParaRPr>
            </a:p>
          </p:txBody>
        </p:sp>
        <p:sp>
          <p:nvSpPr>
            <p:cNvPr id="420" name="Google Shape;420;p10"/>
            <p:cNvSpPr txBox="1"/>
            <p:nvPr/>
          </p:nvSpPr>
          <p:spPr>
            <a:xfrm>
              <a:off x="6525104" y="3527634"/>
              <a:ext cx="246757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Executive Committee (EC) (includes Directors)</a:t>
              </a:r>
              <a:endParaRPr sz="1400" b="0" i="0" u="none" strike="noStrike" cap="none">
                <a:solidFill>
                  <a:srgbClr val="000000"/>
                </a:solidFill>
                <a:latin typeface="Arial"/>
                <a:ea typeface="Arial"/>
                <a:cs typeface="Arial"/>
                <a:sym typeface="Arial"/>
              </a:endParaRPr>
            </a:p>
          </p:txBody>
        </p:sp>
      </p:grpSp>
      <p:sp>
        <p:nvSpPr>
          <p:cNvPr id="421" name="Google Shape;421;p10"/>
          <p:cNvSpPr/>
          <p:nvPr/>
        </p:nvSpPr>
        <p:spPr>
          <a:xfrm>
            <a:off x="7618364" y="1919878"/>
            <a:ext cx="1350200" cy="1350200"/>
          </a:xfrm>
          <a:prstGeom prst="ellipse">
            <a:avLst/>
          </a:prstGeom>
          <a:solidFill>
            <a:schemeClr val="lt1"/>
          </a:solidFill>
          <a:ln w="9525" cap="flat" cmpd="sng">
            <a:solidFill>
              <a:srgbClr val="F2F2F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22" name="Google Shape;422;p10"/>
          <p:cNvSpPr txBox="1"/>
          <p:nvPr/>
        </p:nvSpPr>
        <p:spPr>
          <a:xfrm>
            <a:off x="7880104" y="2333368"/>
            <a:ext cx="82672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27"/>
        <p:cNvGrpSpPr/>
        <p:nvPr/>
      </p:nvGrpSpPr>
      <p:grpSpPr>
        <a:xfrm>
          <a:off x="0" y="0"/>
          <a:ext cx="0" cy="0"/>
          <a:chOff x="0" y="0"/>
          <a:chExt cx="0" cy="0"/>
        </a:xfrm>
      </p:grpSpPr>
      <p:sp>
        <p:nvSpPr>
          <p:cNvPr id="428" name="Google Shape;428;p11"/>
          <p:cNvSpPr txBox="1"/>
          <p:nvPr/>
        </p:nvSpPr>
        <p:spPr>
          <a:xfrm>
            <a:off x="394252" y="533418"/>
            <a:ext cx="454021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MAIN COMMITTEES</a:t>
            </a:r>
            <a:endParaRPr sz="1400" b="0" i="0" u="none" strike="noStrike" cap="none">
              <a:solidFill>
                <a:srgbClr val="000000"/>
              </a:solidFill>
              <a:latin typeface="Arial"/>
              <a:ea typeface="Arial"/>
              <a:cs typeface="Arial"/>
              <a:sym typeface="Arial"/>
            </a:endParaRPr>
          </a:p>
        </p:txBody>
      </p:sp>
      <p:cxnSp>
        <p:nvCxnSpPr>
          <p:cNvPr id="429" name="Google Shape;429;p11"/>
          <p:cNvCxnSpPr/>
          <p:nvPr/>
        </p:nvCxnSpPr>
        <p:spPr>
          <a:xfrm>
            <a:off x="523729" y="1147805"/>
            <a:ext cx="1132764" cy="0"/>
          </a:xfrm>
          <a:prstGeom prst="straightConnector1">
            <a:avLst/>
          </a:prstGeom>
          <a:noFill/>
          <a:ln w="19050" cap="flat" cmpd="sng">
            <a:solidFill>
              <a:schemeClr val="accent1"/>
            </a:solidFill>
            <a:prstDash val="solid"/>
            <a:miter lim="800000"/>
            <a:headEnd type="none" w="sm" len="sm"/>
            <a:tailEnd type="none" w="sm" len="sm"/>
          </a:ln>
        </p:spPr>
      </p:cxnSp>
      <p:grpSp>
        <p:nvGrpSpPr>
          <p:cNvPr id="430" name="Google Shape;430;p11"/>
          <p:cNvGrpSpPr/>
          <p:nvPr/>
        </p:nvGrpSpPr>
        <p:grpSpPr>
          <a:xfrm>
            <a:off x="1559645" y="1505842"/>
            <a:ext cx="5384248" cy="802536"/>
            <a:chOff x="1283252" y="1465633"/>
            <a:chExt cx="5384248" cy="802536"/>
          </a:xfrm>
        </p:grpSpPr>
        <p:sp>
          <p:nvSpPr>
            <p:cNvPr id="431" name="Google Shape;431;p11"/>
            <p:cNvSpPr txBox="1"/>
            <p:nvPr/>
          </p:nvSpPr>
          <p:spPr>
            <a:xfrm>
              <a:off x="1283252" y="1465633"/>
              <a:ext cx="2546508"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MLA Committee (MLAC) </a:t>
              </a:r>
              <a:endParaRPr sz="1400" b="0" i="0" u="none" strike="noStrike" cap="none">
                <a:solidFill>
                  <a:srgbClr val="000000"/>
                </a:solidFill>
                <a:latin typeface="Arial"/>
                <a:ea typeface="Arial"/>
                <a:cs typeface="Arial"/>
                <a:sym typeface="Arial"/>
              </a:endParaRPr>
            </a:p>
          </p:txBody>
        </p:sp>
        <p:sp>
          <p:nvSpPr>
            <p:cNvPr id="432" name="Google Shape;432;p11"/>
            <p:cNvSpPr txBox="1"/>
            <p:nvPr/>
          </p:nvSpPr>
          <p:spPr>
            <a:xfrm>
              <a:off x="1283252" y="1744949"/>
              <a:ext cx="5384248"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Responsible for the implementation and maintenance of the IAF arrangement</a:t>
              </a:r>
              <a:endParaRPr sz="1400" b="0" i="0" u="none" strike="noStrike" cap="none">
                <a:solidFill>
                  <a:srgbClr val="000000"/>
                </a:solidFill>
                <a:latin typeface="Arial"/>
                <a:ea typeface="Arial"/>
                <a:cs typeface="Arial"/>
                <a:sym typeface="Arial"/>
              </a:endParaRPr>
            </a:p>
          </p:txBody>
        </p:sp>
      </p:grpSp>
      <p:sp>
        <p:nvSpPr>
          <p:cNvPr id="433" name="Google Shape;433;p11"/>
          <p:cNvSpPr/>
          <p:nvPr/>
        </p:nvSpPr>
        <p:spPr>
          <a:xfrm>
            <a:off x="570875" y="1518542"/>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34" name="Google Shape;434;p11"/>
          <p:cNvSpPr txBox="1"/>
          <p:nvPr/>
        </p:nvSpPr>
        <p:spPr>
          <a:xfrm>
            <a:off x="623526" y="1645500"/>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grpSp>
        <p:nvGrpSpPr>
          <p:cNvPr id="435" name="Google Shape;435;p11"/>
          <p:cNvGrpSpPr/>
          <p:nvPr/>
        </p:nvGrpSpPr>
        <p:grpSpPr>
          <a:xfrm>
            <a:off x="1559645" y="2544095"/>
            <a:ext cx="5384248" cy="1030680"/>
            <a:chOff x="1283252" y="2311403"/>
            <a:chExt cx="5384248" cy="1030680"/>
          </a:xfrm>
        </p:grpSpPr>
        <p:sp>
          <p:nvSpPr>
            <p:cNvPr id="436" name="Google Shape;436;p11"/>
            <p:cNvSpPr txBox="1"/>
            <p:nvPr/>
          </p:nvSpPr>
          <p:spPr>
            <a:xfrm>
              <a:off x="1283252" y="2311403"/>
              <a:ext cx="4647648"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Development Support Committee (DSC)</a:t>
              </a:r>
              <a:endParaRPr sz="1400" b="0" i="0" u="none" strike="noStrike" cap="none">
                <a:solidFill>
                  <a:srgbClr val="000000"/>
                </a:solidFill>
                <a:latin typeface="Arial"/>
                <a:ea typeface="Arial"/>
                <a:cs typeface="Arial"/>
                <a:sym typeface="Arial"/>
              </a:endParaRPr>
            </a:p>
          </p:txBody>
        </p:sp>
        <p:sp>
          <p:nvSpPr>
            <p:cNvPr id="437" name="Google Shape;437;p11"/>
            <p:cNvSpPr txBox="1"/>
            <p:nvPr/>
          </p:nvSpPr>
          <p:spPr>
            <a:xfrm>
              <a:off x="1283252" y="2603419"/>
              <a:ext cx="5384248" cy="7386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Responsible for representing the interests of developing countries and operates in conjunction with the International Laboratory Accreditation Cooperation (ILAC)</a:t>
              </a:r>
              <a:endParaRPr sz="1400" b="0" i="0" u="none" strike="noStrike" cap="none">
                <a:solidFill>
                  <a:srgbClr val="000000"/>
                </a:solidFill>
                <a:latin typeface="Arial"/>
                <a:ea typeface="Arial"/>
                <a:cs typeface="Arial"/>
                <a:sym typeface="Arial"/>
              </a:endParaRPr>
            </a:p>
          </p:txBody>
        </p:sp>
      </p:grpSp>
      <p:sp>
        <p:nvSpPr>
          <p:cNvPr id="438" name="Google Shape;438;p11"/>
          <p:cNvSpPr/>
          <p:nvPr/>
        </p:nvSpPr>
        <p:spPr>
          <a:xfrm>
            <a:off x="570875" y="2670867"/>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39" name="Google Shape;439;p11"/>
          <p:cNvGrpSpPr/>
          <p:nvPr/>
        </p:nvGrpSpPr>
        <p:grpSpPr>
          <a:xfrm>
            <a:off x="1559645" y="3823192"/>
            <a:ext cx="5384248" cy="777136"/>
            <a:chOff x="1283252" y="3327484"/>
            <a:chExt cx="5384248" cy="777136"/>
          </a:xfrm>
        </p:grpSpPr>
        <p:sp>
          <p:nvSpPr>
            <p:cNvPr id="440" name="Google Shape;440;p11"/>
            <p:cNvSpPr txBox="1"/>
            <p:nvPr/>
          </p:nvSpPr>
          <p:spPr>
            <a:xfrm>
              <a:off x="1283252" y="3327484"/>
              <a:ext cx="4647648"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Technical Committee (TC)</a:t>
              </a:r>
              <a:endParaRPr sz="1400" b="0" i="0" u="none" strike="noStrike" cap="none">
                <a:solidFill>
                  <a:srgbClr val="000000"/>
                </a:solidFill>
                <a:latin typeface="Arial"/>
                <a:ea typeface="Arial"/>
                <a:cs typeface="Arial"/>
                <a:sym typeface="Arial"/>
              </a:endParaRPr>
            </a:p>
          </p:txBody>
        </p:sp>
        <p:sp>
          <p:nvSpPr>
            <p:cNvPr id="441" name="Google Shape;441;p11"/>
            <p:cNvSpPr txBox="1"/>
            <p:nvPr/>
          </p:nvSpPr>
          <p:spPr>
            <a:xfrm>
              <a:off x="1283252" y="3581400"/>
              <a:ext cx="5384248"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Coordinates the work of its Working Groups and Task Forces and addresses technical matters</a:t>
              </a:r>
              <a:endParaRPr sz="1400" b="0" i="0" u="none" strike="noStrike" cap="none">
                <a:solidFill>
                  <a:srgbClr val="000000"/>
                </a:solidFill>
                <a:latin typeface="Arial"/>
                <a:ea typeface="Arial"/>
                <a:cs typeface="Arial"/>
                <a:sym typeface="Arial"/>
              </a:endParaRPr>
            </a:p>
          </p:txBody>
        </p:sp>
      </p:grpSp>
      <p:sp>
        <p:nvSpPr>
          <p:cNvPr id="442" name="Google Shape;442;p11"/>
          <p:cNvSpPr/>
          <p:nvPr/>
        </p:nvSpPr>
        <p:spPr>
          <a:xfrm>
            <a:off x="570875" y="3823192"/>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43" name="Google Shape;443;p11"/>
          <p:cNvGrpSpPr/>
          <p:nvPr/>
        </p:nvGrpSpPr>
        <p:grpSpPr>
          <a:xfrm>
            <a:off x="1559645" y="4848745"/>
            <a:ext cx="5384248" cy="1454245"/>
            <a:chOff x="1283252" y="4104620"/>
            <a:chExt cx="5384248" cy="1454245"/>
          </a:xfrm>
        </p:grpSpPr>
        <p:sp>
          <p:nvSpPr>
            <p:cNvPr id="444" name="Google Shape;444;p11"/>
            <p:cNvSpPr txBox="1"/>
            <p:nvPr/>
          </p:nvSpPr>
          <p:spPr>
            <a:xfrm>
              <a:off x="1283252" y="4104620"/>
              <a:ext cx="481452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Communications &amp; Marketing Committee (CMC) </a:t>
              </a:r>
              <a:endParaRPr sz="1400" b="0" i="0" u="none" strike="noStrike" cap="none">
                <a:solidFill>
                  <a:srgbClr val="000000"/>
                </a:solidFill>
                <a:latin typeface="Arial"/>
                <a:ea typeface="Arial"/>
                <a:cs typeface="Arial"/>
                <a:sym typeface="Arial"/>
              </a:endParaRPr>
            </a:p>
          </p:txBody>
        </p:sp>
        <p:sp>
          <p:nvSpPr>
            <p:cNvPr id="445" name="Google Shape;445;p11"/>
            <p:cNvSpPr txBox="1"/>
            <p:nvPr/>
          </p:nvSpPr>
          <p:spPr>
            <a:xfrm>
              <a:off x="1283252" y="4358536"/>
              <a:ext cx="5384248" cy="1200329"/>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Handles the discussion, development and coordination of any matter related to communications and marketing activities at the global and regional levels</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Strives to raise the awareness, lift the profile and improve the image of accreditation at the global, regional and national levels</a:t>
              </a:r>
              <a:endParaRPr sz="1400" b="0" i="0" u="none" strike="noStrike" cap="none">
                <a:solidFill>
                  <a:srgbClr val="000000"/>
                </a:solidFill>
                <a:latin typeface="Arial"/>
                <a:ea typeface="Arial"/>
                <a:cs typeface="Arial"/>
                <a:sym typeface="Arial"/>
              </a:endParaRPr>
            </a:p>
          </p:txBody>
        </p:sp>
      </p:grpSp>
      <p:sp>
        <p:nvSpPr>
          <p:cNvPr id="446" name="Google Shape;446;p11"/>
          <p:cNvSpPr/>
          <p:nvPr/>
        </p:nvSpPr>
        <p:spPr>
          <a:xfrm>
            <a:off x="570875" y="5094966"/>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47" name="Google Shape;447;p11"/>
          <p:cNvSpPr txBox="1"/>
          <p:nvPr/>
        </p:nvSpPr>
        <p:spPr>
          <a:xfrm>
            <a:off x="623526" y="2797825"/>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
        <p:nvSpPr>
          <p:cNvPr id="448" name="Google Shape;448;p11"/>
          <p:cNvSpPr txBox="1"/>
          <p:nvPr/>
        </p:nvSpPr>
        <p:spPr>
          <a:xfrm>
            <a:off x="623525" y="3950150"/>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449" name="Google Shape;449;p11"/>
          <p:cNvSpPr txBox="1"/>
          <p:nvPr/>
        </p:nvSpPr>
        <p:spPr>
          <a:xfrm>
            <a:off x="623525" y="5221924"/>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450" name="Google Shape;450;p11"/>
          <p:cNvSpPr/>
          <p:nvPr/>
        </p:nvSpPr>
        <p:spPr>
          <a:xfrm flipH="1">
            <a:off x="7571450" y="-1"/>
            <a:ext cx="4620549" cy="5558967"/>
          </a:xfrm>
          <a:custGeom>
            <a:avLst/>
            <a:gdLst/>
            <a:ahLst/>
            <a:cxnLst/>
            <a:rect l="l" t="t" r="r" b="b"/>
            <a:pathLst>
              <a:path w="4620549" h="4636602" extrusionOk="0">
                <a:moveTo>
                  <a:pt x="0" y="0"/>
                </a:moveTo>
                <a:lnTo>
                  <a:pt x="4524177" y="0"/>
                </a:lnTo>
                <a:lnTo>
                  <a:pt x="4518541" y="59831"/>
                </a:lnTo>
                <a:cubicBezTo>
                  <a:pt x="4505222" y="154196"/>
                  <a:pt x="4483125" y="246382"/>
                  <a:pt x="4451664" y="334821"/>
                </a:cubicBezTo>
                <a:cubicBezTo>
                  <a:pt x="4271891" y="874448"/>
                  <a:pt x="3828450" y="946399"/>
                  <a:pt x="3840435" y="1522001"/>
                </a:cubicBezTo>
                <a:cubicBezTo>
                  <a:pt x="3852420" y="2277480"/>
                  <a:pt x="4176012" y="2025653"/>
                  <a:pt x="4535559" y="2781132"/>
                </a:cubicBezTo>
                <a:cubicBezTo>
                  <a:pt x="4931059" y="3596569"/>
                  <a:pt x="3888375" y="5143500"/>
                  <a:pt x="2605993" y="4471964"/>
                </a:cubicBezTo>
                <a:cubicBezTo>
                  <a:pt x="2210492" y="4268105"/>
                  <a:pt x="1850946" y="4016279"/>
                  <a:pt x="1455445" y="3848395"/>
                </a:cubicBezTo>
                <a:cubicBezTo>
                  <a:pt x="1017997" y="3656527"/>
                  <a:pt x="538601" y="3665521"/>
                  <a:pt x="54712" y="3688005"/>
                </a:cubicBezTo>
                <a:lnTo>
                  <a:pt x="0" y="369048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pic>
        <p:nvPicPr>
          <p:cNvPr id="451" name="Google Shape;451;p11" descr="Map&#10;&#10;Description automatically generated"/>
          <p:cNvPicPr preferRelativeResize="0">
            <a:picLocks noGrp="1"/>
          </p:cNvPicPr>
          <p:nvPr>
            <p:ph type="pic" idx="2"/>
          </p:nvPr>
        </p:nvPicPr>
        <p:blipFill rotWithShape="1">
          <a:blip r:embed="rId3">
            <a:alphaModFix/>
          </a:blip>
          <a:srcRect l="16657" r="16657"/>
          <a:stretch/>
        </p:blipFill>
        <p:spPr>
          <a:xfrm>
            <a:off x="7690840" y="3"/>
            <a:ext cx="4501160" cy="5398665"/>
          </a:xfrm>
          <a:prstGeom prst="rect">
            <a:avLst/>
          </a:prstGeom>
          <a:blipFill rotWithShape="1">
            <a:blip r:embed="rId4">
              <a:alphaModFix/>
            </a:blip>
            <a:tile tx="0" ty="0" sx="100000" sy="100000" flip="none" algn="tl"/>
          </a:blip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55"/>
        <p:cNvGrpSpPr/>
        <p:nvPr/>
      </p:nvGrpSpPr>
      <p:grpSpPr>
        <a:xfrm>
          <a:off x="0" y="0"/>
          <a:ext cx="0" cy="0"/>
          <a:chOff x="0" y="0"/>
          <a:chExt cx="0" cy="0"/>
        </a:xfrm>
      </p:grpSpPr>
      <p:sp>
        <p:nvSpPr>
          <p:cNvPr id="456" name="Google Shape;456;p12"/>
          <p:cNvSpPr txBox="1"/>
          <p:nvPr/>
        </p:nvSpPr>
        <p:spPr>
          <a:xfrm>
            <a:off x="587294" y="3009433"/>
            <a:ext cx="1352935"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Emanuele Riva </a:t>
            </a:r>
            <a:endParaRPr sz="1400" b="0" i="0" u="none" strike="noStrike" cap="none">
              <a:solidFill>
                <a:srgbClr val="000000"/>
              </a:solidFill>
              <a:latin typeface="Arial"/>
              <a:ea typeface="Arial"/>
              <a:cs typeface="Arial"/>
              <a:sym typeface="Arial"/>
            </a:endParaRPr>
          </a:p>
        </p:txBody>
      </p:sp>
      <p:sp>
        <p:nvSpPr>
          <p:cNvPr id="457" name="Google Shape;457;p12"/>
          <p:cNvSpPr txBox="1"/>
          <p:nvPr/>
        </p:nvSpPr>
        <p:spPr>
          <a:xfrm>
            <a:off x="400599" y="325131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Chair</a:t>
            </a:r>
            <a:endParaRPr sz="1000" b="0" i="0" u="none" strike="noStrike" cap="none">
              <a:solidFill>
                <a:schemeClr val="dk1"/>
              </a:solidFill>
              <a:latin typeface="Roboto"/>
              <a:ea typeface="Roboto"/>
              <a:cs typeface="Roboto"/>
              <a:sym typeface="Roboto"/>
            </a:endParaRPr>
          </a:p>
        </p:txBody>
      </p:sp>
      <p:sp>
        <p:nvSpPr>
          <p:cNvPr id="458" name="Google Shape;458;p12"/>
          <p:cNvSpPr txBox="1"/>
          <p:nvPr/>
        </p:nvSpPr>
        <p:spPr>
          <a:xfrm>
            <a:off x="2556816" y="2988341"/>
            <a:ext cx="1231107"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Lori Gillespie </a:t>
            </a:r>
            <a:endParaRPr sz="1400" b="0" i="0" u="none" strike="noStrike" cap="none">
              <a:solidFill>
                <a:srgbClr val="000000"/>
              </a:solidFill>
              <a:latin typeface="Arial"/>
              <a:ea typeface="Arial"/>
              <a:cs typeface="Arial"/>
              <a:sym typeface="Arial"/>
            </a:endParaRPr>
          </a:p>
        </p:txBody>
      </p:sp>
      <p:sp>
        <p:nvSpPr>
          <p:cNvPr id="459" name="Google Shape;459;p12"/>
          <p:cNvSpPr txBox="1"/>
          <p:nvPr/>
        </p:nvSpPr>
        <p:spPr>
          <a:xfrm>
            <a:off x="2244180" y="3240373"/>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Vice-Chair</a:t>
            </a:r>
            <a:endParaRPr sz="1400" b="0" i="0" u="none" strike="noStrike" cap="none">
              <a:solidFill>
                <a:srgbClr val="000000"/>
              </a:solidFill>
              <a:latin typeface="Arial"/>
              <a:ea typeface="Arial"/>
              <a:cs typeface="Arial"/>
              <a:sym typeface="Arial"/>
            </a:endParaRPr>
          </a:p>
        </p:txBody>
      </p:sp>
      <p:sp>
        <p:nvSpPr>
          <p:cNvPr id="460" name="Google Shape;460;p12"/>
          <p:cNvSpPr txBox="1"/>
          <p:nvPr/>
        </p:nvSpPr>
        <p:spPr>
          <a:xfrm>
            <a:off x="4515002" y="2963317"/>
            <a:ext cx="1179967"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Victor Gandy</a:t>
            </a:r>
            <a:endParaRPr sz="1400" b="0" i="0" u="none" strike="noStrike" cap="none">
              <a:solidFill>
                <a:srgbClr val="000000"/>
              </a:solidFill>
              <a:latin typeface="Arial"/>
              <a:ea typeface="Arial"/>
              <a:cs typeface="Arial"/>
              <a:sym typeface="Arial"/>
            </a:endParaRPr>
          </a:p>
        </p:txBody>
      </p:sp>
      <p:sp>
        <p:nvSpPr>
          <p:cNvPr id="461" name="Google Shape;461;p12"/>
          <p:cNvSpPr txBox="1"/>
          <p:nvPr/>
        </p:nvSpPr>
        <p:spPr>
          <a:xfrm>
            <a:off x="4223348" y="320050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Secretary</a:t>
            </a:r>
            <a:endParaRPr sz="1400" b="0" i="0" u="none" strike="noStrike" cap="none">
              <a:solidFill>
                <a:srgbClr val="000000"/>
              </a:solidFill>
              <a:latin typeface="Arial"/>
              <a:ea typeface="Arial"/>
              <a:cs typeface="Arial"/>
              <a:sym typeface="Arial"/>
            </a:endParaRPr>
          </a:p>
        </p:txBody>
      </p:sp>
      <p:sp>
        <p:nvSpPr>
          <p:cNvPr id="462" name="Google Shape;462;p12"/>
          <p:cNvSpPr txBox="1"/>
          <p:nvPr/>
        </p:nvSpPr>
        <p:spPr>
          <a:xfrm>
            <a:off x="10131700" y="2921158"/>
            <a:ext cx="1216680"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Kevin Belson </a:t>
            </a:r>
            <a:endParaRPr sz="1400" b="0" i="0" u="none" strike="noStrike" cap="none">
              <a:solidFill>
                <a:srgbClr val="000000"/>
              </a:solidFill>
              <a:latin typeface="Arial"/>
              <a:ea typeface="Arial"/>
              <a:cs typeface="Arial"/>
              <a:sym typeface="Arial"/>
            </a:endParaRPr>
          </a:p>
        </p:txBody>
      </p:sp>
      <p:sp>
        <p:nvSpPr>
          <p:cNvPr id="463" name="Google Shape;463;p12"/>
          <p:cNvSpPr txBox="1"/>
          <p:nvPr/>
        </p:nvSpPr>
        <p:spPr>
          <a:xfrm>
            <a:off x="9780584" y="3165082"/>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TC Chair</a:t>
            </a:r>
            <a:endParaRPr sz="1400" b="0" i="0" u="none" strike="noStrike" cap="none">
              <a:solidFill>
                <a:srgbClr val="000000"/>
              </a:solidFill>
              <a:latin typeface="Arial"/>
              <a:ea typeface="Arial"/>
              <a:cs typeface="Arial"/>
              <a:sym typeface="Arial"/>
            </a:endParaRPr>
          </a:p>
        </p:txBody>
      </p:sp>
      <p:sp>
        <p:nvSpPr>
          <p:cNvPr id="464" name="Google Shape;464;p12"/>
          <p:cNvSpPr txBox="1"/>
          <p:nvPr/>
        </p:nvSpPr>
        <p:spPr>
          <a:xfrm>
            <a:off x="4440100" y="5478301"/>
            <a:ext cx="1384996"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a:t>
            </a:r>
            <a:r>
              <a:rPr lang="en-US" sz="1200" b="0" i="0" u="none" strike="noStrike" cap="none" err="1">
                <a:solidFill>
                  <a:schemeClr val="dk1"/>
                </a:solidFill>
                <a:latin typeface="Raleway"/>
                <a:ea typeface="Raleway"/>
                <a:cs typeface="Raleway"/>
                <a:sym typeface="Raleway"/>
              </a:rPr>
              <a:t>Aldin</a:t>
            </a:r>
            <a:r>
              <a:rPr lang="en-US" sz="1200" b="0" i="0" u="none" strike="noStrike" cap="none">
                <a:solidFill>
                  <a:schemeClr val="dk1"/>
                </a:solidFill>
                <a:latin typeface="Raleway"/>
                <a:ea typeface="Raleway"/>
                <a:cs typeface="Raleway"/>
                <a:sym typeface="Raleway"/>
              </a:rPr>
              <a:t> </a:t>
            </a:r>
            <a:r>
              <a:rPr lang="en-US" sz="1200" b="0" i="0" u="none" strike="noStrike" cap="none" err="1">
                <a:solidFill>
                  <a:schemeClr val="dk1"/>
                </a:solidFill>
                <a:latin typeface="Raleway"/>
                <a:ea typeface="Raleway"/>
                <a:cs typeface="Raleway"/>
                <a:sym typeface="Raleway"/>
              </a:rPr>
              <a:t>Hilbrands</a:t>
            </a:r>
            <a:endParaRPr sz="1400" b="0" i="0" u="none" strike="noStrike" cap="none">
              <a:solidFill>
                <a:srgbClr val="000000"/>
              </a:solidFill>
              <a:latin typeface="Arial"/>
              <a:ea typeface="Arial"/>
              <a:cs typeface="Arial"/>
              <a:sym typeface="Arial"/>
            </a:endParaRPr>
          </a:p>
        </p:txBody>
      </p:sp>
      <p:sp>
        <p:nvSpPr>
          <p:cNvPr id="465" name="Google Shape;465;p12"/>
          <p:cNvSpPr txBox="1"/>
          <p:nvPr/>
        </p:nvSpPr>
        <p:spPr>
          <a:xfrm>
            <a:off x="4215808" y="5716017"/>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dirty="0">
                <a:solidFill>
                  <a:schemeClr val="dk1"/>
                </a:solidFill>
                <a:latin typeface="Roboto"/>
                <a:ea typeface="Roboto"/>
                <a:cs typeface="Roboto"/>
                <a:sym typeface="Roboto"/>
              </a:rPr>
              <a:t>UAC Chair</a:t>
            </a:r>
            <a:endParaRPr sz="1400" b="0" i="0" u="none" strike="noStrike" cap="none" dirty="0">
              <a:solidFill>
                <a:srgbClr val="000000"/>
              </a:solidFill>
              <a:latin typeface="Arial"/>
              <a:ea typeface="Arial"/>
              <a:cs typeface="Arial"/>
              <a:sym typeface="Arial"/>
            </a:endParaRPr>
          </a:p>
        </p:txBody>
      </p:sp>
      <p:sp>
        <p:nvSpPr>
          <p:cNvPr id="466" name="Google Shape;466;p12"/>
          <p:cNvSpPr txBox="1"/>
          <p:nvPr/>
        </p:nvSpPr>
        <p:spPr>
          <a:xfrm>
            <a:off x="2402596" y="5442174"/>
            <a:ext cx="1619245"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a:t>
            </a:r>
            <a:r>
              <a:rPr lang="en-US" sz="1200">
                <a:solidFill>
                  <a:schemeClr val="dk1"/>
                </a:solidFill>
                <a:latin typeface="Raleway"/>
                <a:ea typeface="Raleway"/>
                <a:cs typeface="Raleway"/>
                <a:sym typeface="Raleway"/>
              </a:rPr>
              <a:t>Wolfram Hartmann</a:t>
            </a:r>
            <a:endParaRPr sz="1400" b="0" i="0" u="none" strike="noStrike" cap="none">
              <a:solidFill>
                <a:srgbClr val="000000"/>
              </a:solidFill>
              <a:latin typeface="Arial"/>
              <a:ea typeface="Arial"/>
              <a:cs typeface="Arial"/>
              <a:sym typeface="Arial"/>
            </a:endParaRPr>
          </a:p>
        </p:txBody>
      </p:sp>
      <p:sp>
        <p:nvSpPr>
          <p:cNvPr id="467" name="Google Shape;467;p12"/>
          <p:cNvSpPr txBox="1"/>
          <p:nvPr/>
        </p:nvSpPr>
        <p:spPr>
          <a:xfrm>
            <a:off x="2337227" y="5685143"/>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BIEG Co-Chair</a:t>
            </a:r>
            <a:endParaRPr sz="1000" b="0" i="0" u="none" strike="noStrike" cap="none">
              <a:solidFill>
                <a:schemeClr val="dk1"/>
              </a:solidFill>
              <a:latin typeface="Roboto"/>
              <a:ea typeface="Roboto"/>
              <a:cs typeface="Roboto"/>
              <a:sym typeface="Roboto"/>
            </a:endParaRPr>
          </a:p>
        </p:txBody>
      </p:sp>
      <p:sp>
        <p:nvSpPr>
          <p:cNvPr id="468" name="Google Shape;468;p12"/>
          <p:cNvSpPr txBox="1"/>
          <p:nvPr/>
        </p:nvSpPr>
        <p:spPr>
          <a:xfrm>
            <a:off x="8277019" y="2956107"/>
            <a:ext cx="122148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Pedro Alves</a:t>
            </a:r>
            <a:endParaRPr sz="1400" b="0" i="0" u="none" strike="noStrike" cap="none">
              <a:solidFill>
                <a:srgbClr val="000000"/>
              </a:solidFill>
              <a:latin typeface="Arial"/>
              <a:ea typeface="Arial"/>
              <a:cs typeface="Arial"/>
              <a:sym typeface="Arial"/>
            </a:endParaRPr>
          </a:p>
        </p:txBody>
      </p:sp>
      <p:sp>
        <p:nvSpPr>
          <p:cNvPr id="469" name="Google Shape;469;p12"/>
          <p:cNvSpPr txBox="1"/>
          <p:nvPr/>
        </p:nvSpPr>
        <p:spPr>
          <a:xfrm>
            <a:off x="7985145" y="317824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CABAC Chair</a:t>
            </a:r>
            <a:endParaRPr sz="1400" b="0" i="0" u="none" strike="noStrike" cap="none">
              <a:solidFill>
                <a:srgbClr val="000000"/>
              </a:solidFill>
              <a:latin typeface="Arial"/>
              <a:ea typeface="Arial"/>
              <a:cs typeface="Arial"/>
              <a:sym typeface="Arial"/>
            </a:endParaRPr>
          </a:p>
        </p:txBody>
      </p:sp>
      <p:sp>
        <p:nvSpPr>
          <p:cNvPr id="470" name="Google Shape;470;p12"/>
          <p:cNvSpPr txBox="1"/>
          <p:nvPr/>
        </p:nvSpPr>
        <p:spPr>
          <a:xfrm>
            <a:off x="8099532" y="5436117"/>
            <a:ext cx="1702389"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ajesh Maheshwari  </a:t>
            </a:r>
            <a:endParaRPr sz="1400" b="0" i="0" u="none" strike="noStrike" cap="none">
              <a:solidFill>
                <a:srgbClr val="000000"/>
              </a:solidFill>
              <a:latin typeface="Arial"/>
              <a:ea typeface="Arial"/>
              <a:cs typeface="Arial"/>
              <a:sym typeface="Arial"/>
            </a:endParaRPr>
          </a:p>
        </p:txBody>
      </p:sp>
      <p:sp>
        <p:nvSpPr>
          <p:cNvPr id="471" name="Google Shape;471;p12"/>
          <p:cNvSpPr txBox="1"/>
          <p:nvPr/>
        </p:nvSpPr>
        <p:spPr>
          <a:xfrm>
            <a:off x="8035829" y="5679086"/>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BIEG Co-Chair</a:t>
            </a:r>
            <a:endParaRPr sz="1400" b="0" i="0" u="none" strike="noStrike" cap="none">
              <a:solidFill>
                <a:srgbClr val="000000"/>
              </a:solidFill>
              <a:latin typeface="Arial"/>
              <a:ea typeface="Arial"/>
              <a:cs typeface="Arial"/>
              <a:sym typeface="Arial"/>
            </a:endParaRPr>
          </a:p>
        </p:txBody>
      </p:sp>
      <p:pic>
        <p:nvPicPr>
          <p:cNvPr id="472" name="Google Shape;472;p12"/>
          <p:cNvPicPr preferRelativeResize="0">
            <a:picLocks noGrp="1"/>
          </p:cNvPicPr>
          <p:nvPr>
            <p:ph type="pic" idx="3"/>
          </p:nvPr>
        </p:nvPicPr>
        <p:blipFill rotWithShape="1">
          <a:blip r:embed="rId3">
            <a:alphaModFix/>
          </a:blip>
          <a:srcRect/>
          <a:stretch/>
        </p:blipFill>
        <p:spPr>
          <a:xfrm>
            <a:off x="2451792" y="1400103"/>
            <a:ext cx="1485900" cy="1485900"/>
          </a:xfrm>
          <a:prstGeom prst="rect">
            <a:avLst/>
          </a:prstGeom>
          <a:noFill/>
          <a:ln>
            <a:noFill/>
          </a:ln>
        </p:spPr>
      </p:pic>
      <p:pic>
        <p:nvPicPr>
          <p:cNvPr id="473" name="Google Shape;473;p12"/>
          <p:cNvPicPr preferRelativeResize="0">
            <a:picLocks noGrp="1"/>
          </p:cNvPicPr>
          <p:nvPr>
            <p:ph type="pic" idx="4"/>
          </p:nvPr>
        </p:nvPicPr>
        <p:blipFill>
          <a:blip r:embed="rId4"/>
          <a:srcRect t="53" b="53"/>
          <a:stretch/>
        </p:blipFill>
        <p:spPr>
          <a:xfrm>
            <a:off x="4376214" y="1396085"/>
            <a:ext cx="1487488" cy="1485900"/>
          </a:xfrm>
          <a:prstGeom prst="ellipse">
            <a:avLst/>
          </a:prstGeom>
          <a:noFill/>
          <a:ln>
            <a:noFill/>
          </a:ln>
        </p:spPr>
      </p:pic>
      <p:pic>
        <p:nvPicPr>
          <p:cNvPr id="474" name="Google Shape;474;p12"/>
          <p:cNvPicPr preferRelativeResize="0">
            <a:picLocks noGrp="1"/>
          </p:cNvPicPr>
          <p:nvPr>
            <p:ph type="pic" idx="5"/>
          </p:nvPr>
        </p:nvPicPr>
        <p:blipFill rotWithShape="1">
          <a:blip r:embed="rId5">
            <a:alphaModFix/>
          </a:blip>
          <a:srcRect/>
          <a:stretch/>
        </p:blipFill>
        <p:spPr>
          <a:xfrm>
            <a:off x="9944567" y="1353926"/>
            <a:ext cx="1485900" cy="1485900"/>
          </a:xfrm>
          <a:prstGeom prst="rect">
            <a:avLst/>
          </a:prstGeom>
          <a:noFill/>
          <a:ln>
            <a:noFill/>
          </a:ln>
        </p:spPr>
      </p:pic>
      <p:pic>
        <p:nvPicPr>
          <p:cNvPr id="475" name="Google Shape;475;p12"/>
          <p:cNvPicPr preferRelativeResize="0">
            <a:picLocks noGrp="1"/>
          </p:cNvPicPr>
          <p:nvPr>
            <p:ph type="pic" idx="6"/>
          </p:nvPr>
        </p:nvPicPr>
        <p:blipFill rotWithShape="1">
          <a:blip r:embed="rId6">
            <a:alphaModFix/>
          </a:blip>
          <a:srcRect/>
          <a:stretch/>
        </p:blipFill>
        <p:spPr>
          <a:xfrm>
            <a:off x="8157693" y="3865538"/>
            <a:ext cx="1485900" cy="1485900"/>
          </a:xfrm>
          <a:prstGeom prst="rect">
            <a:avLst/>
          </a:prstGeom>
          <a:noFill/>
          <a:ln>
            <a:noFill/>
          </a:ln>
        </p:spPr>
      </p:pic>
      <p:pic>
        <p:nvPicPr>
          <p:cNvPr id="477" name="Google Shape;477;p12"/>
          <p:cNvPicPr preferRelativeResize="0">
            <a:picLocks noGrp="1"/>
          </p:cNvPicPr>
          <p:nvPr>
            <p:ph type="pic" idx="9"/>
          </p:nvPr>
        </p:nvPicPr>
        <p:blipFill rotWithShape="1">
          <a:blip r:embed="rId7">
            <a:alphaModFix/>
          </a:blip>
          <a:srcRect/>
          <a:stretch/>
        </p:blipFill>
        <p:spPr>
          <a:xfrm>
            <a:off x="6309804" y="3888121"/>
            <a:ext cx="1485900" cy="1485900"/>
          </a:xfrm>
          <a:prstGeom prst="rect">
            <a:avLst/>
          </a:prstGeom>
          <a:noFill/>
          <a:ln>
            <a:noFill/>
          </a:ln>
        </p:spPr>
      </p:pic>
      <p:sp>
        <p:nvSpPr>
          <p:cNvPr id="479" name="Google Shape;479;p12"/>
          <p:cNvSpPr txBox="1"/>
          <p:nvPr/>
        </p:nvSpPr>
        <p:spPr>
          <a:xfrm>
            <a:off x="9482484" y="5466040"/>
            <a:ext cx="2515112"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a:t>
            </a:r>
            <a:r>
              <a:rPr lang="en-US" sz="1200">
                <a:solidFill>
                  <a:schemeClr val="dk1"/>
                </a:solidFill>
                <a:latin typeface="Raleway"/>
                <a:ea typeface="Raleway"/>
                <a:cs typeface="Raleway"/>
                <a:sym typeface="Raleway"/>
              </a:rPr>
              <a:t>Fei Yang</a:t>
            </a:r>
            <a:endParaRPr sz="1400" b="0" i="0" u="none" strike="noStrike" cap="none">
              <a:solidFill>
                <a:srgbClr val="000000"/>
              </a:solidFill>
              <a:latin typeface="Arial"/>
              <a:ea typeface="Arial"/>
              <a:cs typeface="Arial"/>
              <a:sym typeface="Arial"/>
            </a:endParaRPr>
          </a:p>
        </p:txBody>
      </p:sp>
      <p:sp>
        <p:nvSpPr>
          <p:cNvPr id="480" name="Google Shape;480;p12"/>
          <p:cNvSpPr txBox="1"/>
          <p:nvPr/>
        </p:nvSpPr>
        <p:spPr>
          <a:xfrm>
            <a:off x="9837455" y="5666045"/>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DSC Chair</a:t>
            </a:r>
            <a:endParaRPr sz="1400" b="0" i="0" u="none" strike="noStrike" cap="none">
              <a:solidFill>
                <a:srgbClr val="000000"/>
              </a:solidFill>
              <a:latin typeface="Arial"/>
              <a:ea typeface="Arial"/>
              <a:cs typeface="Arial"/>
              <a:sym typeface="Arial"/>
            </a:endParaRPr>
          </a:p>
        </p:txBody>
      </p:sp>
      <p:sp>
        <p:nvSpPr>
          <p:cNvPr id="481" name="Google Shape;481;p12"/>
          <p:cNvSpPr txBox="1"/>
          <p:nvPr/>
        </p:nvSpPr>
        <p:spPr>
          <a:xfrm>
            <a:off x="766637" y="5453580"/>
            <a:ext cx="1287212" cy="461665"/>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CA" sz="1200" b="0" i="0" u="none" strike="noStrike" cap="none">
                <a:solidFill>
                  <a:schemeClr val="dk1"/>
                </a:solidFill>
                <a:latin typeface="Raleway"/>
                <a:ea typeface="Raleway"/>
                <a:cs typeface="Raleway"/>
                <a:sym typeface="Raleway"/>
              </a:rPr>
              <a:t>Mr. </a:t>
            </a:r>
            <a:r>
              <a:rPr lang="en-CA" sz="1200">
                <a:solidFill>
                  <a:schemeClr val="dk1"/>
                </a:solidFill>
                <a:latin typeface="Raleway"/>
                <a:ea typeface="Raleway"/>
                <a:cs typeface="Raleway"/>
                <a:sym typeface="Raleway"/>
              </a:rPr>
              <a:t>Marcus Long</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Raleway"/>
              <a:ea typeface="Raleway"/>
              <a:cs typeface="Raleway"/>
              <a:sym typeface="Raleway"/>
            </a:endParaRPr>
          </a:p>
        </p:txBody>
      </p:sp>
      <p:sp>
        <p:nvSpPr>
          <p:cNvPr id="482" name="Google Shape;482;p12"/>
          <p:cNvSpPr txBox="1"/>
          <p:nvPr/>
        </p:nvSpPr>
        <p:spPr>
          <a:xfrm>
            <a:off x="471017" y="5666045"/>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a:solidFill>
                  <a:schemeClr val="dk1"/>
                </a:solidFill>
                <a:latin typeface="Roboto"/>
                <a:ea typeface="Roboto"/>
                <a:cs typeface="Roboto"/>
                <a:sym typeface="Roboto"/>
              </a:rPr>
              <a:t>CMC</a:t>
            </a:r>
            <a:r>
              <a:rPr lang="en-US" sz="1000" b="0" i="0" u="none" strike="noStrike" cap="none">
                <a:solidFill>
                  <a:schemeClr val="dk1"/>
                </a:solidFill>
                <a:latin typeface="Roboto"/>
                <a:ea typeface="Roboto"/>
                <a:cs typeface="Roboto"/>
                <a:sym typeface="Roboto"/>
              </a:rPr>
              <a:t> Chair</a:t>
            </a:r>
            <a:endParaRPr sz="1000" b="0" i="0" u="none" strike="noStrike" cap="none">
              <a:solidFill>
                <a:schemeClr val="dk1"/>
              </a:solidFill>
              <a:latin typeface="Roboto"/>
              <a:ea typeface="Roboto"/>
              <a:cs typeface="Roboto"/>
              <a:sym typeface="Roboto"/>
            </a:endParaRPr>
          </a:p>
        </p:txBody>
      </p:sp>
      <p:sp>
        <p:nvSpPr>
          <p:cNvPr id="483" name="Google Shape;483;p12"/>
          <p:cNvSpPr txBox="1"/>
          <p:nvPr/>
        </p:nvSpPr>
        <p:spPr>
          <a:xfrm>
            <a:off x="479232" y="396930"/>
            <a:ext cx="4873818"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chemeClr val="dk1"/>
              </a:solidFill>
              <a:latin typeface="Arial"/>
              <a:ea typeface="Arial"/>
              <a:cs typeface="Arial"/>
              <a:sym typeface="Arial"/>
            </a:endParaRPr>
          </a:p>
        </p:txBody>
      </p:sp>
      <p:cxnSp>
        <p:nvCxnSpPr>
          <p:cNvPr id="484" name="Google Shape;484;p12"/>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486" name="Google Shape;486;p12"/>
          <p:cNvPicPr preferRelativeResize="0">
            <a:picLocks noGrp="1"/>
          </p:cNvPicPr>
          <p:nvPr>
            <p:ph type="pic" idx="8"/>
          </p:nvPr>
        </p:nvPicPr>
        <p:blipFill>
          <a:blip r:embed="rId8"/>
          <a:srcRect/>
          <a:stretch/>
        </p:blipFill>
        <p:spPr>
          <a:xfrm>
            <a:off x="4404299" y="3913247"/>
            <a:ext cx="1485900" cy="1485900"/>
          </a:xfrm>
          <a:prstGeom prst="ellipse">
            <a:avLst/>
          </a:prstGeom>
          <a:noFill/>
          <a:ln>
            <a:noFill/>
          </a:ln>
        </p:spPr>
      </p:pic>
      <p:sp>
        <p:nvSpPr>
          <p:cNvPr id="488" name="Google Shape;488;p12"/>
          <p:cNvSpPr txBox="1"/>
          <p:nvPr/>
        </p:nvSpPr>
        <p:spPr>
          <a:xfrm>
            <a:off x="6415543" y="5473905"/>
            <a:ext cx="129843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Brahim Houla  </a:t>
            </a:r>
            <a:endParaRPr sz="1400" b="0" i="0" u="none" strike="noStrike" cap="none">
              <a:solidFill>
                <a:srgbClr val="000000"/>
              </a:solidFill>
              <a:latin typeface="Arial"/>
              <a:ea typeface="Arial"/>
              <a:cs typeface="Arial"/>
              <a:sym typeface="Arial"/>
            </a:endParaRPr>
          </a:p>
        </p:txBody>
      </p:sp>
      <p:sp>
        <p:nvSpPr>
          <p:cNvPr id="489" name="Google Shape;489;p12"/>
          <p:cNvSpPr txBox="1"/>
          <p:nvPr/>
        </p:nvSpPr>
        <p:spPr>
          <a:xfrm>
            <a:off x="6146449" y="5678622"/>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a:solidFill>
                  <a:schemeClr val="dk1"/>
                </a:solidFill>
                <a:latin typeface="Roboto"/>
                <a:ea typeface="Roboto"/>
                <a:cs typeface="Roboto"/>
                <a:sym typeface="Roboto"/>
              </a:rPr>
              <a:t>MLAC</a:t>
            </a:r>
            <a:r>
              <a:rPr lang="en-US" sz="1000" b="0" i="0" u="none" strike="noStrike" cap="none">
                <a:solidFill>
                  <a:schemeClr val="dk1"/>
                </a:solidFill>
                <a:latin typeface="Roboto"/>
                <a:ea typeface="Roboto"/>
                <a:cs typeface="Roboto"/>
                <a:sym typeface="Roboto"/>
              </a:rPr>
              <a:t> Chair</a:t>
            </a:r>
            <a:endParaRPr sz="1400" b="0" i="0" u="none" strike="noStrike" cap="none">
              <a:solidFill>
                <a:srgbClr val="000000"/>
              </a:solidFill>
              <a:latin typeface="Arial"/>
              <a:ea typeface="Arial"/>
              <a:cs typeface="Arial"/>
              <a:sym typeface="Arial"/>
            </a:endParaRPr>
          </a:p>
        </p:txBody>
      </p:sp>
      <p:sp>
        <p:nvSpPr>
          <p:cNvPr id="491" name="Google Shape;491;p12"/>
          <p:cNvSpPr txBox="1"/>
          <p:nvPr/>
        </p:nvSpPr>
        <p:spPr>
          <a:xfrm>
            <a:off x="6375795" y="2950068"/>
            <a:ext cx="1320808"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Warren Merkel</a:t>
            </a:r>
            <a:endParaRPr sz="1400" b="0" i="0" u="none" strike="noStrike" cap="none">
              <a:solidFill>
                <a:srgbClr val="000000"/>
              </a:solidFill>
              <a:latin typeface="Arial"/>
              <a:ea typeface="Arial"/>
              <a:cs typeface="Arial"/>
              <a:sym typeface="Arial"/>
            </a:endParaRPr>
          </a:p>
        </p:txBody>
      </p:sp>
      <p:sp>
        <p:nvSpPr>
          <p:cNvPr id="492" name="Google Shape;492;p12"/>
          <p:cNvSpPr txBox="1"/>
          <p:nvPr/>
        </p:nvSpPr>
        <p:spPr>
          <a:xfrm>
            <a:off x="6087253" y="317824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Treasurer</a:t>
            </a:r>
            <a:endParaRPr sz="1400" b="0" i="0" u="none" strike="noStrike" cap="none">
              <a:solidFill>
                <a:srgbClr val="000000"/>
              </a:solidFill>
              <a:latin typeface="Arial"/>
              <a:ea typeface="Arial"/>
              <a:cs typeface="Arial"/>
              <a:sym typeface="Arial"/>
            </a:endParaRPr>
          </a:p>
        </p:txBody>
      </p:sp>
      <p:pic>
        <p:nvPicPr>
          <p:cNvPr id="4" name="Picture 3">
            <a:extLst>
              <a:ext uri="{FF2B5EF4-FFF2-40B4-BE49-F238E27FC236}">
                <a16:creationId xmlns:a16="http://schemas.microsoft.com/office/drawing/2014/main" id="{FBF2AAA2-B1F0-70F1-514E-7CEBBA2C9A17}"/>
              </a:ext>
            </a:extLst>
          </p:cNvPr>
          <p:cNvPicPr>
            <a:picLocks noChangeAspect="1"/>
          </p:cNvPicPr>
          <p:nvPr/>
        </p:nvPicPr>
        <p:blipFill>
          <a:blip r:embed="rId9"/>
          <a:stretch>
            <a:fillRect/>
          </a:stretch>
        </p:blipFill>
        <p:spPr>
          <a:xfrm>
            <a:off x="8093035" y="1360962"/>
            <a:ext cx="1487553" cy="1487553"/>
          </a:xfrm>
          <a:prstGeom prst="rect">
            <a:avLst/>
          </a:prstGeom>
        </p:spPr>
      </p:pic>
      <p:pic>
        <p:nvPicPr>
          <p:cNvPr id="9" name="Picture Placeholder 4">
            <a:extLst>
              <a:ext uri="{FF2B5EF4-FFF2-40B4-BE49-F238E27FC236}">
                <a16:creationId xmlns:a16="http://schemas.microsoft.com/office/drawing/2014/main" id="{FEF6E43A-BE0B-3971-14EF-F5212646194E}"/>
              </a:ext>
            </a:extLst>
          </p:cNvPr>
          <p:cNvPicPr>
            <a:picLocks noGrp="1" noChangeAspect="1"/>
          </p:cNvPicPr>
          <p:nvPr>
            <p:ph type="pic" idx="2"/>
          </p:nvPr>
        </p:nvPicPr>
        <p:blipFill>
          <a:blip r:embed="rId10"/>
          <a:srcRect l="8434" r="8434"/>
          <a:stretch>
            <a:fillRect/>
          </a:stretch>
        </p:blipFill>
        <p:spPr>
          <a:xfrm>
            <a:off x="2487866" y="3887727"/>
            <a:ext cx="1486294" cy="1486294"/>
          </a:xfrm>
        </p:spPr>
      </p:pic>
      <p:pic>
        <p:nvPicPr>
          <p:cNvPr id="10" name="Picture Placeholder 12" descr="A person in a suit smiling&#10;&#10;Description automatically generated">
            <a:extLst>
              <a:ext uri="{FF2B5EF4-FFF2-40B4-BE49-F238E27FC236}">
                <a16:creationId xmlns:a16="http://schemas.microsoft.com/office/drawing/2014/main" id="{1172C557-3CCD-A338-EAFF-0C1FD2CC3839}"/>
              </a:ext>
            </a:extLst>
          </p:cNvPr>
          <p:cNvPicPr>
            <a:picLocks noChangeAspect="1"/>
          </p:cNvPicPr>
          <p:nvPr/>
        </p:nvPicPr>
        <p:blipFill>
          <a:blip r:embed="rId11"/>
          <a:srcRect l="4634" r="4634"/>
          <a:stretch>
            <a:fillRect/>
          </a:stretch>
        </p:blipFill>
        <p:spPr>
          <a:xfrm>
            <a:off x="6227681" y="1367535"/>
            <a:ext cx="1486294" cy="1486294"/>
          </a:xfrm>
          <a:prstGeom prst="ellipse">
            <a:avLst/>
          </a:prstGeom>
          <a:noFill/>
          <a:ln>
            <a:noFill/>
          </a:ln>
        </p:spPr>
      </p:pic>
      <p:pic>
        <p:nvPicPr>
          <p:cNvPr id="13" name="Picture Placeholder 18" descr="A person in a suit and tie&#10;&#10;Description automatically generated">
            <a:extLst>
              <a:ext uri="{FF2B5EF4-FFF2-40B4-BE49-F238E27FC236}">
                <a16:creationId xmlns:a16="http://schemas.microsoft.com/office/drawing/2014/main" id="{5D4CFBC9-1F4A-F58E-9986-A90C92EB23F7}"/>
              </a:ext>
            </a:extLst>
          </p:cNvPr>
          <p:cNvPicPr>
            <a:picLocks noChangeAspect="1"/>
          </p:cNvPicPr>
          <p:nvPr/>
        </p:nvPicPr>
        <p:blipFill>
          <a:blip r:embed="rId12"/>
          <a:srcRect l="6912" r="6912"/>
          <a:stretch>
            <a:fillRect/>
          </a:stretch>
        </p:blipFill>
        <p:spPr>
          <a:xfrm>
            <a:off x="563651" y="1396085"/>
            <a:ext cx="1486294" cy="1486294"/>
          </a:xfrm>
          <a:prstGeom prst="ellipse">
            <a:avLst/>
          </a:prstGeom>
          <a:noFill/>
          <a:ln>
            <a:noFill/>
          </a:ln>
        </p:spPr>
      </p:pic>
      <p:pic>
        <p:nvPicPr>
          <p:cNvPr id="2" name="Picture Placeholder 4">
            <a:extLst>
              <a:ext uri="{FF2B5EF4-FFF2-40B4-BE49-F238E27FC236}">
                <a16:creationId xmlns:a16="http://schemas.microsoft.com/office/drawing/2014/main" id="{71762BB2-7A4A-E89E-9796-3DB8AE0C59CB}"/>
              </a:ext>
            </a:extLst>
          </p:cNvPr>
          <p:cNvPicPr>
            <a:picLocks noChangeAspect="1"/>
          </p:cNvPicPr>
          <p:nvPr/>
        </p:nvPicPr>
        <p:blipFill>
          <a:blip r:embed="rId13"/>
          <a:srcRect/>
          <a:stretch>
            <a:fillRect/>
          </a:stretch>
        </p:blipFill>
        <p:spPr>
          <a:xfrm>
            <a:off x="614026" y="3887727"/>
            <a:ext cx="1486294" cy="1486294"/>
          </a:xfrm>
          <a:prstGeom prst="ellipse">
            <a:avLst/>
          </a:prstGeom>
          <a:noFill/>
          <a:ln>
            <a:noFill/>
          </a:ln>
        </p:spPr>
      </p:pic>
      <p:pic>
        <p:nvPicPr>
          <p:cNvPr id="8" name="Picture Placeholder 7" descr="A person wearing glasses and a tie holding a microphone&#10;&#10;Description automatically generated">
            <a:extLst>
              <a:ext uri="{FF2B5EF4-FFF2-40B4-BE49-F238E27FC236}">
                <a16:creationId xmlns:a16="http://schemas.microsoft.com/office/drawing/2014/main" id="{D4099905-B322-9CC7-E631-FDB77C6EB314}"/>
              </a:ext>
            </a:extLst>
          </p:cNvPr>
          <p:cNvPicPr>
            <a:picLocks noGrp="1" noChangeAspect="1"/>
          </p:cNvPicPr>
          <p:nvPr>
            <p:ph type="pic" idx="13"/>
          </p:nvPr>
        </p:nvPicPr>
        <p:blipFill>
          <a:blip r:embed="rId14"/>
          <a:srcRect l="4464" r="4464"/>
          <a:stretch>
            <a:fillRect/>
          </a:stretch>
        </p:blipFill>
        <p:spPr>
          <a:xfrm>
            <a:off x="9988400" y="3875651"/>
            <a:ext cx="1485900" cy="1485900"/>
          </a:xfr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97"/>
        <p:cNvGrpSpPr/>
        <p:nvPr/>
      </p:nvGrpSpPr>
      <p:grpSpPr>
        <a:xfrm>
          <a:off x="0" y="0"/>
          <a:ext cx="0" cy="0"/>
          <a:chOff x="0" y="0"/>
          <a:chExt cx="0" cy="0"/>
        </a:xfrm>
      </p:grpSpPr>
      <p:sp>
        <p:nvSpPr>
          <p:cNvPr id="498" name="Google Shape;498;p13"/>
          <p:cNvSpPr txBox="1"/>
          <p:nvPr/>
        </p:nvSpPr>
        <p:spPr>
          <a:xfrm>
            <a:off x="428614" y="3000745"/>
            <a:ext cx="2192908"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a:solidFill>
                  <a:schemeClr val="dk1"/>
                </a:solidFill>
                <a:latin typeface="Raleway"/>
                <a:sym typeface="Raleway"/>
              </a:rPr>
              <a:t>Mr. Adel </a:t>
            </a:r>
            <a:r>
              <a:rPr lang="en-US" sz="1200" err="1">
                <a:solidFill>
                  <a:schemeClr val="dk1"/>
                </a:solidFill>
                <a:latin typeface="Raleway"/>
                <a:sym typeface="Raleway"/>
              </a:rPr>
              <a:t>Alkeaid</a:t>
            </a:r>
            <a:r>
              <a:rPr lang="en-US" sz="1200">
                <a:solidFill>
                  <a:schemeClr val="dk1"/>
                </a:solidFill>
                <a:latin typeface="Raleway"/>
                <a:sym typeface="Raleway"/>
              </a:rPr>
              <a:t> </a:t>
            </a:r>
            <a:endParaRPr sz="1400" b="0" i="0" u="none" strike="noStrike" cap="none">
              <a:solidFill>
                <a:srgbClr val="000000"/>
              </a:solidFill>
              <a:latin typeface="Arial"/>
              <a:ea typeface="Arial"/>
              <a:cs typeface="Arial"/>
              <a:sym typeface="Arial"/>
            </a:endParaRPr>
          </a:p>
        </p:txBody>
      </p:sp>
      <p:sp>
        <p:nvSpPr>
          <p:cNvPr id="499" name="Google Shape;499;p13"/>
          <p:cNvSpPr txBox="1"/>
          <p:nvPr/>
        </p:nvSpPr>
        <p:spPr>
          <a:xfrm>
            <a:off x="610171"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RAC Representative</a:t>
            </a:r>
            <a:endParaRPr sz="1400" b="0" i="0" u="none" strike="noStrike" cap="none">
              <a:solidFill>
                <a:srgbClr val="000000"/>
              </a:solidFill>
              <a:latin typeface="Arial"/>
              <a:ea typeface="Arial"/>
              <a:cs typeface="Arial"/>
              <a:sym typeface="Arial"/>
            </a:endParaRPr>
          </a:p>
        </p:txBody>
      </p:sp>
      <p:sp>
        <p:nvSpPr>
          <p:cNvPr id="500" name="Google Shape;500;p13"/>
          <p:cNvSpPr txBox="1"/>
          <p:nvPr/>
        </p:nvSpPr>
        <p:spPr>
          <a:xfrm>
            <a:off x="2990134" y="3000745"/>
            <a:ext cx="1646285" cy="276999"/>
          </a:xfrm>
          <a:prstGeom prst="rect">
            <a:avLst/>
          </a:prstGeom>
          <a:noFill/>
          <a:ln>
            <a:noFill/>
          </a:ln>
        </p:spPr>
        <p:txBody>
          <a:bodyPr spcFirstLastPara="1" wrap="square" lIns="0" tIns="45700" rIns="0" bIns="45700" anchor="t" anchorCtr="0">
            <a:spAutoFit/>
          </a:bodyPr>
          <a:lstStyle/>
          <a:p>
            <a:pPr algn="ctr">
              <a:buSzPts val="1200"/>
            </a:pPr>
            <a:r>
              <a:rPr lang="en-US" sz="1200" b="0" i="0" u="none" strike="noStrike" cap="none">
                <a:solidFill>
                  <a:schemeClr val="dk1"/>
                </a:solidFill>
                <a:latin typeface="Raleway" pitchFamily="2" charset="0"/>
                <a:ea typeface="Raleway"/>
                <a:cs typeface="Raleway"/>
                <a:sym typeface="Raleway"/>
              </a:rPr>
              <a:t>Mr. </a:t>
            </a:r>
            <a:r>
              <a:rPr lang="en-US" sz="1200">
                <a:solidFill>
                  <a:srgbClr val="222222"/>
                </a:solidFill>
                <a:latin typeface="Raleway" pitchFamily="2" charset="0"/>
                <a:ea typeface="Raleway"/>
                <a:sym typeface="Raleway"/>
              </a:rPr>
              <a:t>Robin Gopee</a:t>
            </a:r>
            <a:endParaRPr sz="1400" b="0" i="0" u="none" strike="noStrike" cap="none">
              <a:solidFill>
                <a:srgbClr val="000000"/>
              </a:solidFill>
              <a:latin typeface="Raleway" pitchFamily="2" charset="0"/>
              <a:sym typeface="Arial"/>
            </a:endParaRPr>
          </a:p>
        </p:txBody>
      </p:sp>
      <p:sp>
        <p:nvSpPr>
          <p:cNvPr id="501" name="Google Shape;501;p13"/>
          <p:cNvSpPr txBox="1"/>
          <p:nvPr/>
        </p:nvSpPr>
        <p:spPr>
          <a:xfrm>
            <a:off x="2898380"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SADCA Representative</a:t>
            </a:r>
            <a:endParaRPr sz="1400" b="0" i="0" u="none" strike="noStrike" cap="none">
              <a:solidFill>
                <a:srgbClr val="000000"/>
              </a:solidFill>
              <a:latin typeface="Arial"/>
              <a:ea typeface="Arial"/>
              <a:cs typeface="Arial"/>
              <a:sym typeface="Arial"/>
            </a:endParaRPr>
          </a:p>
        </p:txBody>
      </p:sp>
      <p:sp>
        <p:nvSpPr>
          <p:cNvPr id="502" name="Google Shape;502;p13"/>
          <p:cNvSpPr txBox="1"/>
          <p:nvPr/>
        </p:nvSpPr>
        <p:spPr>
          <a:xfrm>
            <a:off x="5396200" y="3000745"/>
            <a:ext cx="1445910"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Norman Brunner</a:t>
            </a:r>
            <a:endParaRPr sz="1400" b="0" i="0" u="none" strike="noStrike" cap="none">
              <a:solidFill>
                <a:srgbClr val="000000"/>
              </a:solidFill>
              <a:latin typeface="Arial"/>
              <a:ea typeface="Arial"/>
              <a:cs typeface="Arial"/>
              <a:sym typeface="Arial"/>
            </a:endParaRPr>
          </a:p>
        </p:txBody>
      </p:sp>
      <p:sp>
        <p:nvSpPr>
          <p:cNvPr id="503" name="Google Shape;503;p13"/>
          <p:cNvSpPr txBox="1"/>
          <p:nvPr/>
        </p:nvSpPr>
        <p:spPr>
          <a:xfrm>
            <a:off x="5204258" y="3243714"/>
            <a:ext cx="1829792" cy="44755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JWG A-Series Co-Convenor (Guest)</a:t>
            </a:r>
            <a:endParaRPr sz="1400" b="0" i="0" u="none" strike="noStrike" cap="none">
              <a:solidFill>
                <a:srgbClr val="000000"/>
              </a:solidFill>
              <a:latin typeface="Arial"/>
              <a:ea typeface="Arial"/>
              <a:cs typeface="Arial"/>
              <a:sym typeface="Arial"/>
            </a:endParaRPr>
          </a:p>
        </p:txBody>
      </p:sp>
      <p:sp>
        <p:nvSpPr>
          <p:cNvPr id="504" name="Google Shape;504;p13"/>
          <p:cNvSpPr txBox="1"/>
          <p:nvPr/>
        </p:nvSpPr>
        <p:spPr>
          <a:xfrm>
            <a:off x="870438" y="5553204"/>
            <a:ext cx="1487587"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a:t>
            </a:r>
            <a:r>
              <a:rPr lang="en-US" sz="1200">
                <a:solidFill>
                  <a:schemeClr val="dk1"/>
                </a:solidFill>
                <a:latin typeface="Raleway"/>
                <a:ea typeface="Raleway"/>
                <a:cs typeface="Raleway"/>
                <a:sym typeface="Raleway"/>
              </a:rPr>
              <a:t>Celestine </a:t>
            </a:r>
            <a:r>
              <a:rPr lang="en-US" sz="1200" err="1">
                <a:solidFill>
                  <a:schemeClr val="dk1"/>
                </a:solidFill>
                <a:latin typeface="Raleway"/>
                <a:ea typeface="Raleway"/>
                <a:cs typeface="Raleway"/>
                <a:sym typeface="Raleway"/>
              </a:rPr>
              <a:t>Okanya</a:t>
            </a:r>
            <a:endParaRPr sz="1400" b="0" i="0" u="none" strike="noStrike" cap="none">
              <a:solidFill>
                <a:srgbClr val="000000"/>
              </a:solidFill>
              <a:latin typeface="Arial"/>
              <a:ea typeface="Arial"/>
              <a:cs typeface="Arial"/>
              <a:sym typeface="Arial"/>
            </a:endParaRPr>
          </a:p>
        </p:txBody>
      </p:sp>
      <p:sp>
        <p:nvSpPr>
          <p:cNvPr id="505" name="Google Shape;505;p13"/>
          <p:cNvSpPr txBox="1"/>
          <p:nvPr/>
        </p:nvSpPr>
        <p:spPr>
          <a:xfrm>
            <a:off x="699335" y="5796173"/>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FRAC Representative</a:t>
            </a:r>
            <a:endParaRPr sz="1400" b="0" i="0" u="none" strike="noStrike" cap="none">
              <a:solidFill>
                <a:srgbClr val="000000"/>
              </a:solidFill>
              <a:latin typeface="Arial"/>
              <a:ea typeface="Arial"/>
              <a:cs typeface="Arial"/>
              <a:sym typeface="Arial"/>
            </a:endParaRPr>
          </a:p>
        </p:txBody>
      </p:sp>
      <p:sp>
        <p:nvSpPr>
          <p:cNvPr id="506" name="Google Shape;506;p13"/>
          <p:cNvSpPr txBox="1"/>
          <p:nvPr/>
        </p:nvSpPr>
        <p:spPr>
          <a:xfrm>
            <a:off x="10061161" y="2966715"/>
            <a:ext cx="115416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Hamza Khan</a:t>
            </a:r>
            <a:endParaRPr sz="1400" b="0" i="0" u="none" strike="noStrike" cap="none">
              <a:solidFill>
                <a:srgbClr val="000000"/>
              </a:solidFill>
              <a:latin typeface="Arial"/>
              <a:ea typeface="Arial"/>
              <a:cs typeface="Arial"/>
              <a:sym typeface="Arial"/>
            </a:endParaRPr>
          </a:p>
        </p:txBody>
      </p:sp>
      <p:sp>
        <p:nvSpPr>
          <p:cNvPr id="507" name="Google Shape;507;p13"/>
          <p:cNvSpPr txBox="1"/>
          <p:nvPr/>
        </p:nvSpPr>
        <p:spPr>
          <a:xfrm>
            <a:off x="9752037" y="3202945"/>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Quality Manager (Guest)</a:t>
            </a:r>
            <a:endParaRPr sz="1400" b="0" i="0" u="none" strike="noStrike" cap="none">
              <a:solidFill>
                <a:srgbClr val="000000"/>
              </a:solidFill>
              <a:latin typeface="Arial"/>
              <a:ea typeface="Arial"/>
              <a:cs typeface="Arial"/>
              <a:sym typeface="Arial"/>
            </a:endParaRPr>
          </a:p>
        </p:txBody>
      </p:sp>
      <p:sp>
        <p:nvSpPr>
          <p:cNvPr id="508" name="Google Shape;508;p13"/>
          <p:cNvSpPr txBox="1"/>
          <p:nvPr/>
        </p:nvSpPr>
        <p:spPr>
          <a:xfrm>
            <a:off x="3091746" y="5561708"/>
            <a:ext cx="153567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Maureen Logghe </a:t>
            </a:r>
            <a:endParaRPr sz="1400" b="0" i="0" u="none" strike="noStrike" cap="none">
              <a:solidFill>
                <a:srgbClr val="000000"/>
              </a:solidFill>
              <a:latin typeface="Arial"/>
              <a:ea typeface="Arial"/>
              <a:cs typeface="Arial"/>
              <a:sym typeface="Arial"/>
            </a:endParaRPr>
          </a:p>
        </p:txBody>
      </p:sp>
      <p:sp>
        <p:nvSpPr>
          <p:cNvPr id="509" name="Google Shape;509;p13"/>
          <p:cNvSpPr txBox="1"/>
          <p:nvPr/>
        </p:nvSpPr>
        <p:spPr>
          <a:xfrm>
            <a:off x="2944688" y="580467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EA Representative</a:t>
            </a:r>
            <a:endParaRPr sz="1400" b="0" i="0" u="none" strike="noStrike" cap="none">
              <a:solidFill>
                <a:srgbClr val="000000"/>
              </a:solidFill>
              <a:latin typeface="Arial"/>
              <a:ea typeface="Arial"/>
              <a:cs typeface="Arial"/>
              <a:sym typeface="Arial"/>
            </a:endParaRPr>
          </a:p>
        </p:txBody>
      </p:sp>
      <p:sp>
        <p:nvSpPr>
          <p:cNvPr id="510" name="Google Shape;510;p13"/>
          <p:cNvSpPr txBox="1"/>
          <p:nvPr/>
        </p:nvSpPr>
        <p:spPr>
          <a:xfrm>
            <a:off x="5551512" y="5561708"/>
            <a:ext cx="1227901"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Andrea Melo </a:t>
            </a:r>
            <a:endParaRPr sz="1400" b="0" i="0" u="none" strike="noStrike" cap="none">
              <a:solidFill>
                <a:srgbClr val="000000"/>
              </a:solidFill>
              <a:latin typeface="Arial"/>
              <a:ea typeface="Arial"/>
              <a:cs typeface="Arial"/>
              <a:sym typeface="Arial"/>
            </a:endParaRPr>
          </a:p>
        </p:txBody>
      </p:sp>
      <p:sp>
        <p:nvSpPr>
          <p:cNvPr id="511" name="Google Shape;511;p13"/>
          <p:cNvSpPr txBox="1"/>
          <p:nvPr/>
        </p:nvSpPr>
        <p:spPr>
          <a:xfrm>
            <a:off x="5250566" y="580467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AC Representative</a:t>
            </a:r>
            <a:endParaRPr sz="1400" b="0" i="0" u="none" strike="noStrike" cap="none">
              <a:solidFill>
                <a:srgbClr val="000000"/>
              </a:solidFill>
              <a:latin typeface="Arial"/>
              <a:ea typeface="Arial"/>
              <a:cs typeface="Arial"/>
              <a:sym typeface="Arial"/>
            </a:endParaRPr>
          </a:p>
        </p:txBody>
      </p:sp>
      <p:sp>
        <p:nvSpPr>
          <p:cNvPr id="512" name="Google Shape;512;p13"/>
          <p:cNvSpPr txBox="1"/>
          <p:nvPr/>
        </p:nvSpPr>
        <p:spPr>
          <a:xfrm>
            <a:off x="7960392" y="5561708"/>
            <a:ext cx="1030731"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aj Nathan</a:t>
            </a:r>
            <a:endParaRPr sz="1400" b="0" i="0" u="none" strike="noStrike" cap="none">
              <a:solidFill>
                <a:srgbClr val="000000"/>
              </a:solidFill>
              <a:latin typeface="Arial"/>
              <a:ea typeface="Arial"/>
              <a:cs typeface="Arial"/>
              <a:sym typeface="Arial"/>
            </a:endParaRPr>
          </a:p>
        </p:txBody>
      </p:sp>
      <p:sp>
        <p:nvSpPr>
          <p:cNvPr id="513" name="Google Shape;513;p13"/>
          <p:cNvSpPr txBox="1"/>
          <p:nvPr/>
        </p:nvSpPr>
        <p:spPr>
          <a:xfrm>
            <a:off x="7560861" y="580467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PAC Representative</a:t>
            </a:r>
            <a:endParaRPr sz="1400" b="0" i="0" u="none" strike="noStrike" cap="none">
              <a:solidFill>
                <a:srgbClr val="000000"/>
              </a:solidFill>
              <a:latin typeface="Arial"/>
              <a:ea typeface="Arial"/>
              <a:cs typeface="Arial"/>
              <a:sym typeface="Arial"/>
            </a:endParaRPr>
          </a:p>
        </p:txBody>
      </p:sp>
      <p:pic>
        <p:nvPicPr>
          <p:cNvPr id="516" name="Google Shape;516;p13"/>
          <p:cNvPicPr preferRelativeResize="0">
            <a:picLocks noGrp="1"/>
          </p:cNvPicPr>
          <p:nvPr>
            <p:ph type="pic" idx="4"/>
          </p:nvPr>
        </p:nvPicPr>
        <p:blipFill rotWithShape="1">
          <a:blip r:embed="rId3">
            <a:alphaModFix/>
          </a:blip>
          <a:srcRect t="53" b="51"/>
          <a:stretch/>
        </p:blipFill>
        <p:spPr>
          <a:xfrm>
            <a:off x="5375275" y="1433513"/>
            <a:ext cx="1487488" cy="1485900"/>
          </a:xfrm>
          <a:prstGeom prst="rect">
            <a:avLst/>
          </a:prstGeom>
          <a:noFill/>
          <a:ln>
            <a:noFill/>
          </a:ln>
        </p:spPr>
      </p:pic>
      <p:pic>
        <p:nvPicPr>
          <p:cNvPr id="518" name="Google Shape;518;p13"/>
          <p:cNvPicPr preferRelativeResize="0">
            <a:picLocks noGrp="1"/>
          </p:cNvPicPr>
          <p:nvPr>
            <p:ph type="pic" idx="6"/>
          </p:nvPr>
        </p:nvPicPr>
        <p:blipFill rotWithShape="1">
          <a:blip r:embed="rId4">
            <a:alphaModFix/>
          </a:blip>
          <a:srcRect/>
          <a:stretch/>
        </p:blipFill>
        <p:spPr>
          <a:xfrm>
            <a:off x="7732983" y="3981430"/>
            <a:ext cx="1485900" cy="1485900"/>
          </a:xfrm>
          <a:prstGeom prst="rect">
            <a:avLst/>
          </a:prstGeom>
          <a:noFill/>
          <a:ln>
            <a:noFill/>
          </a:ln>
        </p:spPr>
      </p:pic>
      <p:pic>
        <p:nvPicPr>
          <p:cNvPr id="519" name="Google Shape;519;p13"/>
          <p:cNvPicPr preferRelativeResize="0">
            <a:picLocks noGrp="1"/>
          </p:cNvPicPr>
          <p:nvPr>
            <p:ph type="pic" idx="7"/>
          </p:nvPr>
        </p:nvPicPr>
        <p:blipFill rotWithShape="1">
          <a:blip r:embed="rId5">
            <a:alphaModFix/>
          </a:blip>
          <a:srcRect t="53" b="51"/>
          <a:stretch/>
        </p:blipFill>
        <p:spPr>
          <a:xfrm>
            <a:off x="5421583" y="3981430"/>
            <a:ext cx="1487488" cy="1485900"/>
          </a:xfrm>
          <a:prstGeom prst="rect">
            <a:avLst/>
          </a:prstGeom>
          <a:noFill/>
          <a:ln>
            <a:noFill/>
          </a:ln>
        </p:spPr>
      </p:pic>
      <p:pic>
        <p:nvPicPr>
          <p:cNvPr id="520" name="Google Shape;520;p13"/>
          <p:cNvPicPr preferRelativeResize="0">
            <a:picLocks noGrp="1"/>
          </p:cNvPicPr>
          <p:nvPr>
            <p:ph type="pic" idx="8"/>
          </p:nvPr>
        </p:nvPicPr>
        <p:blipFill rotWithShape="1">
          <a:blip r:embed="rId6">
            <a:alphaModFix/>
          </a:blip>
          <a:srcRect/>
          <a:stretch/>
        </p:blipFill>
        <p:spPr>
          <a:xfrm>
            <a:off x="3116533" y="3981430"/>
            <a:ext cx="1485900" cy="1485900"/>
          </a:xfrm>
          <a:prstGeom prst="rect">
            <a:avLst/>
          </a:prstGeom>
          <a:noFill/>
          <a:ln>
            <a:noFill/>
          </a:ln>
        </p:spPr>
      </p:pic>
      <p:pic>
        <p:nvPicPr>
          <p:cNvPr id="522" name="Google Shape;522;p13"/>
          <p:cNvPicPr preferRelativeResize="0">
            <a:picLocks noGrp="1"/>
          </p:cNvPicPr>
          <p:nvPr>
            <p:ph type="pic" idx="13"/>
          </p:nvPr>
        </p:nvPicPr>
        <p:blipFill rotWithShape="1">
          <a:blip r:embed="rId7">
            <a:alphaModFix/>
          </a:blip>
          <a:srcRect l="205" r="205"/>
          <a:stretch/>
        </p:blipFill>
        <p:spPr>
          <a:xfrm>
            <a:off x="7622544" y="1411282"/>
            <a:ext cx="1485900" cy="1485900"/>
          </a:xfrm>
          <a:prstGeom prst="rect">
            <a:avLst/>
          </a:prstGeom>
          <a:noFill/>
          <a:ln>
            <a:noFill/>
          </a:ln>
        </p:spPr>
      </p:pic>
      <p:sp>
        <p:nvSpPr>
          <p:cNvPr id="524" name="Google Shape;524;p13"/>
          <p:cNvSpPr txBox="1"/>
          <p:nvPr/>
        </p:nvSpPr>
        <p:spPr>
          <a:xfrm>
            <a:off x="7864715" y="2978514"/>
            <a:ext cx="1001877"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Etty Feller</a:t>
            </a:r>
            <a:endParaRPr sz="1400" b="0" i="0" u="none" strike="noStrike" cap="none">
              <a:solidFill>
                <a:srgbClr val="000000"/>
              </a:solidFill>
              <a:latin typeface="Arial"/>
              <a:ea typeface="Arial"/>
              <a:cs typeface="Arial"/>
              <a:sym typeface="Arial"/>
            </a:endParaRPr>
          </a:p>
        </p:txBody>
      </p:sp>
      <p:sp>
        <p:nvSpPr>
          <p:cNvPr id="525" name="Google Shape;525;p13"/>
          <p:cNvSpPr txBox="1"/>
          <p:nvPr/>
        </p:nvSpPr>
        <p:spPr>
          <a:xfrm>
            <a:off x="7506951" y="3221483"/>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LAC Chair (Guest)</a:t>
            </a:r>
            <a:endParaRPr sz="1400" b="0" i="0" u="none" strike="noStrike" cap="none">
              <a:solidFill>
                <a:srgbClr val="000000"/>
              </a:solidFill>
              <a:latin typeface="Arial"/>
              <a:ea typeface="Arial"/>
              <a:cs typeface="Arial"/>
              <a:sym typeface="Arial"/>
            </a:endParaRPr>
          </a:p>
        </p:txBody>
      </p:sp>
      <p:sp>
        <p:nvSpPr>
          <p:cNvPr id="526" name="Google Shape;526;p13"/>
          <p:cNvSpPr txBox="1"/>
          <p:nvPr/>
        </p:nvSpPr>
        <p:spPr>
          <a:xfrm>
            <a:off x="10123870" y="5561708"/>
            <a:ext cx="115897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ick Parsons</a:t>
            </a:r>
            <a:endParaRPr sz="1400" b="0" i="0" u="none" strike="noStrike" cap="none">
              <a:solidFill>
                <a:srgbClr val="000000"/>
              </a:solidFill>
              <a:latin typeface="Arial"/>
              <a:ea typeface="Arial"/>
              <a:cs typeface="Arial"/>
              <a:sym typeface="Arial"/>
            </a:endParaRPr>
          </a:p>
        </p:txBody>
      </p:sp>
      <p:sp>
        <p:nvSpPr>
          <p:cNvPr id="527" name="Google Shape;527;p13"/>
          <p:cNvSpPr txBox="1"/>
          <p:nvPr/>
        </p:nvSpPr>
        <p:spPr>
          <a:xfrm>
            <a:off x="9798345" y="580467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 Chief Financial Officer (Guest)</a:t>
            </a:r>
            <a:endParaRPr sz="1400" b="0" i="0" u="none" strike="noStrike" cap="none">
              <a:solidFill>
                <a:srgbClr val="000000"/>
              </a:solidFill>
              <a:latin typeface="Arial"/>
              <a:ea typeface="Arial"/>
              <a:cs typeface="Arial"/>
              <a:sym typeface="Arial"/>
            </a:endParaRPr>
          </a:p>
        </p:txBody>
      </p:sp>
      <p:sp>
        <p:nvSpPr>
          <p:cNvPr id="528" name="Google Shape;528;p13"/>
          <p:cNvSpPr txBox="1"/>
          <p:nvPr/>
        </p:nvSpPr>
        <p:spPr>
          <a:xfrm>
            <a:off x="479232" y="396930"/>
            <a:ext cx="4725026"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chemeClr val="dk1"/>
              </a:solidFill>
              <a:latin typeface="Arial"/>
              <a:ea typeface="Arial"/>
              <a:cs typeface="Arial"/>
              <a:sym typeface="Arial"/>
            </a:endParaRPr>
          </a:p>
        </p:txBody>
      </p:sp>
      <p:cxnSp>
        <p:nvCxnSpPr>
          <p:cNvPr id="529" name="Google Shape;529;p13"/>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23" name="Picture Placeholder 22" descr="A person wearing glasses and a tie&#10;&#10;Description automatically generated">
            <a:extLst>
              <a:ext uri="{FF2B5EF4-FFF2-40B4-BE49-F238E27FC236}">
                <a16:creationId xmlns:a16="http://schemas.microsoft.com/office/drawing/2014/main" id="{51CC6E9D-6846-1C07-3928-30F353FDBAF2}"/>
              </a:ext>
            </a:extLst>
          </p:cNvPr>
          <p:cNvPicPr>
            <a:picLocks noGrp="1" noChangeAspect="1"/>
          </p:cNvPicPr>
          <p:nvPr>
            <p:ph type="pic" idx="3"/>
          </p:nvPr>
        </p:nvPicPr>
        <p:blipFill>
          <a:blip r:embed="rId8"/>
          <a:srcRect t="53" b="53"/>
          <a:stretch>
            <a:fillRect/>
          </a:stretch>
        </p:blipFill>
        <p:spPr>
          <a:xfrm>
            <a:off x="3065069" y="1433513"/>
            <a:ext cx="1486294" cy="1486294"/>
          </a:xfrm>
        </p:spPr>
      </p:pic>
      <p:pic>
        <p:nvPicPr>
          <p:cNvPr id="27" name="Picture Placeholder 26" descr="A person smiling for the camera&#10;&#10;Description automatically generated">
            <a:extLst>
              <a:ext uri="{FF2B5EF4-FFF2-40B4-BE49-F238E27FC236}">
                <a16:creationId xmlns:a16="http://schemas.microsoft.com/office/drawing/2014/main" id="{20A22198-DA0B-7A63-3B32-765DCB769F80}"/>
              </a:ext>
            </a:extLst>
          </p:cNvPr>
          <p:cNvPicPr>
            <a:picLocks noGrp="1" noChangeAspect="1"/>
          </p:cNvPicPr>
          <p:nvPr>
            <p:ph type="pic" idx="14"/>
          </p:nvPr>
        </p:nvPicPr>
        <p:blipFill>
          <a:blip r:embed="rId9"/>
          <a:srcRect t="7214" b="7214"/>
          <a:stretch>
            <a:fillRect/>
          </a:stretch>
        </p:blipFill>
        <p:spPr>
          <a:xfrm>
            <a:off x="9970094" y="3953930"/>
            <a:ext cx="1486294" cy="1486294"/>
          </a:xfrm>
        </p:spPr>
      </p:pic>
      <p:pic>
        <p:nvPicPr>
          <p:cNvPr id="32" name="Picture Placeholder 30" descr="A person with short hair wearing a blue shirt&#10;&#10;Description automatically generated">
            <a:extLst>
              <a:ext uri="{FF2B5EF4-FFF2-40B4-BE49-F238E27FC236}">
                <a16:creationId xmlns:a16="http://schemas.microsoft.com/office/drawing/2014/main" id="{6D6F8615-69D8-9A80-16BC-B01FEA7E02E4}"/>
              </a:ext>
            </a:extLst>
          </p:cNvPr>
          <p:cNvPicPr>
            <a:picLocks noChangeAspect="1"/>
          </p:cNvPicPr>
          <p:nvPr/>
        </p:nvPicPr>
        <p:blipFill>
          <a:blip r:embed="rId10"/>
          <a:srcRect t="595" b="595"/>
          <a:stretch>
            <a:fillRect/>
          </a:stretch>
        </p:blipFill>
        <p:spPr>
          <a:xfrm>
            <a:off x="3103227" y="3981430"/>
            <a:ext cx="1486294" cy="1486294"/>
          </a:xfrm>
          <a:prstGeom prst="ellipse">
            <a:avLst/>
          </a:prstGeom>
          <a:noFill/>
          <a:ln>
            <a:noFill/>
          </a:ln>
        </p:spPr>
      </p:pic>
      <p:pic>
        <p:nvPicPr>
          <p:cNvPr id="37" name="Picture Placeholder 35" descr="A person in a suit&#10;&#10;Description automatically generated">
            <a:extLst>
              <a:ext uri="{FF2B5EF4-FFF2-40B4-BE49-F238E27FC236}">
                <a16:creationId xmlns:a16="http://schemas.microsoft.com/office/drawing/2014/main" id="{CB67E684-8CAF-2B10-6C02-7027A48420FC}"/>
              </a:ext>
            </a:extLst>
          </p:cNvPr>
          <p:cNvPicPr>
            <a:picLocks noChangeAspect="1"/>
          </p:cNvPicPr>
          <p:nvPr/>
        </p:nvPicPr>
        <p:blipFill>
          <a:blip r:embed="rId11"/>
          <a:srcRect l="9951" r="9951"/>
          <a:stretch>
            <a:fillRect/>
          </a:stretch>
        </p:blipFill>
        <p:spPr>
          <a:xfrm>
            <a:off x="5381505" y="1433513"/>
            <a:ext cx="1486294" cy="1486294"/>
          </a:xfrm>
          <a:prstGeom prst="ellipse">
            <a:avLst/>
          </a:prstGeom>
          <a:noFill/>
          <a:ln>
            <a:noFill/>
          </a:ln>
        </p:spPr>
      </p:pic>
      <p:pic>
        <p:nvPicPr>
          <p:cNvPr id="48" name="Picture Placeholder 47" descr="A person with a beard wearing glasses and a suit&#10;&#10;Description automatically generated">
            <a:extLst>
              <a:ext uri="{FF2B5EF4-FFF2-40B4-BE49-F238E27FC236}">
                <a16:creationId xmlns:a16="http://schemas.microsoft.com/office/drawing/2014/main" id="{4CEBAE4E-F6BD-0CFA-60C7-007AB517E32F}"/>
              </a:ext>
            </a:extLst>
          </p:cNvPr>
          <p:cNvPicPr>
            <a:picLocks noGrp="1" noChangeAspect="1"/>
          </p:cNvPicPr>
          <p:nvPr>
            <p:ph type="pic" idx="9"/>
          </p:nvPr>
        </p:nvPicPr>
        <p:blipFill>
          <a:blip r:embed="rId12"/>
          <a:srcRect l="883" r="883"/>
          <a:stretch>
            <a:fillRect/>
          </a:stretch>
        </p:blipFill>
        <p:spPr>
          <a:xfrm>
            <a:off x="9873193" y="1386437"/>
            <a:ext cx="1486294" cy="1486294"/>
          </a:xfrm>
        </p:spPr>
      </p:pic>
      <p:pic>
        <p:nvPicPr>
          <p:cNvPr id="6" name="Picture Placeholder 5" descr="A person in a white shirt and white tie&#10;&#10;Description automatically generated">
            <a:extLst>
              <a:ext uri="{FF2B5EF4-FFF2-40B4-BE49-F238E27FC236}">
                <a16:creationId xmlns:a16="http://schemas.microsoft.com/office/drawing/2014/main" id="{DD5008FF-ED43-2CE0-1002-D8897D6DF9E3}"/>
              </a:ext>
            </a:extLst>
          </p:cNvPr>
          <p:cNvPicPr>
            <a:picLocks noGrp="1" noChangeAspect="1"/>
          </p:cNvPicPr>
          <p:nvPr>
            <p:ph type="pic" idx="2"/>
          </p:nvPr>
        </p:nvPicPr>
        <p:blipFill>
          <a:blip r:embed="rId13"/>
          <a:srcRect l="125" r="125"/>
          <a:stretch>
            <a:fillRect/>
          </a:stretch>
        </p:blipFill>
        <p:spPr>
          <a:xfrm>
            <a:off x="832513" y="1435656"/>
            <a:ext cx="1486294" cy="1486294"/>
          </a:xfrm>
        </p:spPr>
      </p:pic>
      <p:pic>
        <p:nvPicPr>
          <p:cNvPr id="10" name="Picture Placeholder 9" descr="A person in a suit and tie&#10;&#10;Description automatically generated">
            <a:extLst>
              <a:ext uri="{FF2B5EF4-FFF2-40B4-BE49-F238E27FC236}">
                <a16:creationId xmlns:a16="http://schemas.microsoft.com/office/drawing/2014/main" id="{721E8CF9-44B2-8B77-52AF-C77C97D27547}"/>
              </a:ext>
            </a:extLst>
          </p:cNvPr>
          <p:cNvPicPr>
            <a:picLocks noGrp="1" noChangeAspect="1"/>
          </p:cNvPicPr>
          <p:nvPr>
            <p:ph type="pic" idx="5"/>
          </p:nvPr>
        </p:nvPicPr>
        <p:blipFill>
          <a:blip r:embed="rId14"/>
          <a:srcRect/>
          <a:stretch>
            <a:fillRect/>
          </a:stretch>
        </p:blipFill>
        <p:spPr>
          <a:xfrm>
            <a:off x="865722" y="4019721"/>
            <a:ext cx="1486294" cy="1486294"/>
          </a:xfr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33"/>
        <p:cNvGrpSpPr/>
        <p:nvPr/>
      </p:nvGrpSpPr>
      <p:grpSpPr>
        <a:xfrm>
          <a:off x="0" y="0"/>
          <a:ext cx="0" cy="0"/>
          <a:chOff x="0" y="0"/>
          <a:chExt cx="0" cy="0"/>
        </a:xfrm>
      </p:grpSpPr>
      <p:sp>
        <p:nvSpPr>
          <p:cNvPr id="534" name="Google Shape;534;p14"/>
          <p:cNvSpPr txBox="1"/>
          <p:nvPr/>
        </p:nvSpPr>
        <p:spPr>
          <a:xfrm>
            <a:off x="2147002" y="482259"/>
            <a:ext cx="7897996" cy="52322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1" i="0" u="none" strike="noStrike" kern="0" cap="none" spc="0" normalizeH="0" baseline="0" noProof="0" dirty="0">
                <a:ln>
                  <a:noFill/>
                </a:ln>
                <a:solidFill>
                  <a:srgbClr val="000000"/>
                </a:solidFill>
                <a:effectLst/>
                <a:uLnTx/>
                <a:uFillTx/>
                <a:latin typeface="Montserrat"/>
                <a:ea typeface="Montserrat"/>
                <a:cs typeface="Montserrat"/>
                <a:sym typeface="Montserrat"/>
              </a:rPr>
              <a:t>COVERAGE OF THE IAF MLA </a:t>
            </a:r>
            <a:r>
              <a:rPr kumimoji="0" lang="en-US" sz="1400" b="1" i="0" u="none" strike="noStrike" kern="0" cap="none" spc="0" normalizeH="0" baseline="0" noProof="0" dirty="0">
                <a:ln>
                  <a:noFill/>
                </a:ln>
                <a:solidFill>
                  <a:srgbClr val="000000"/>
                </a:solidFill>
                <a:effectLst/>
                <a:uLnTx/>
                <a:uFillTx/>
                <a:latin typeface="Montserrat"/>
                <a:ea typeface="Montserrat"/>
                <a:cs typeface="Montserrat"/>
                <a:sym typeface="Montserrat"/>
              </a:rPr>
              <a:t>(</a:t>
            </a:r>
            <a:r>
              <a:rPr lang="en-US" b="1" dirty="0">
                <a:latin typeface="Montserrat"/>
                <a:ea typeface="Montserrat"/>
                <a:cs typeface="Montserrat"/>
                <a:sym typeface="Montserrat"/>
              </a:rPr>
              <a:t>June 2025</a:t>
            </a:r>
            <a:r>
              <a:rPr kumimoji="0" lang="en-US" sz="1400" b="1" i="0" u="none" strike="noStrike" kern="0" cap="none" spc="0" normalizeH="0" baseline="0" noProof="0" dirty="0">
                <a:ln>
                  <a:noFill/>
                </a:ln>
                <a:solidFill>
                  <a:srgbClr val="000000"/>
                </a:solidFill>
                <a:effectLst/>
                <a:uLnTx/>
                <a:uFillTx/>
                <a:latin typeface="Montserrat"/>
                <a:ea typeface="Montserrat"/>
                <a:cs typeface="Montserrat"/>
                <a:sym typeface="Montserrat"/>
              </a:rPr>
              <a:t>)</a:t>
            </a:r>
            <a:endParaRPr kumimoji="0" sz="2800" b="1" i="0" u="none" strike="noStrike" kern="0" cap="none" spc="0" normalizeH="0" baseline="0" noProof="0" dirty="0">
              <a:ln>
                <a:noFill/>
              </a:ln>
              <a:solidFill>
                <a:srgbClr val="000000"/>
              </a:solidFill>
              <a:effectLst/>
              <a:uLnTx/>
              <a:uFillTx/>
              <a:latin typeface="Montserrat"/>
              <a:ea typeface="Montserrat"/>
              <a:cs typeface="Montserrat"/>
              <a:sym typeface="Montserrat"/>
            </a:endParaRPr>
          </a:p>
        </p:txBody>
      </p:sp>
      <p:cxnSp>
        <p:nvCxnSpPr>
          <p:cNvPr id="535" name="Google Shape;535;p14"/>
          <p:cNvCxnSpPr/>
          <p:nvPr/>
        </p:nvCxnSpPr>
        <p:spPr>
          <a:xfrm>
            <a:off x="5529618" y="1096646"/>
            <a:ext cx="1132764" cy="0"/>
          </a:xfrm>
          <a:prstGeom prst="straightConnector1">
            <a:avLst/>
          </a:prstGeom>
          <a:noFill/>
          <a:ln w="19050" cap="flat" cmpd="sng">
            <a:solidFill>
              <a:schemeClr val="accent1"/>
            </a:solidFill>
            <a:prstDash val="solid"/>
            <a:miter lim="800000"/>
            <a:headEnd type="none" w="sm" len="sm"/>
            <a:tailEnd type="none" w="sm" len="sm"/>
          </a:ln>
        </p:spPr>
      </p:cxnSp>
      <p:grpSp>
        <p:nvGrpSpPr>
          <p:cNvPr id="536" name="Google Shape;536;p14"/>
          <p:cNvGrpSpPr/>
          <p:nvPr/>
        </p:nvGrpSpPr>
        <p:grpSpPr>
          <a:xfrm>
            <a:off x="2345532" y="1528640"/>
            <a:ext cx="7500937" cy="4260850"/>
            <a:chOff x="610008" y="1320854"/>
            <a:chExt cx="7500937" cy="4260850"/>
          </a:xfrm>
        </p:grpSpPr>
        <p:sp>
          <p:nvSpPr>
            <p:cNvPr id="537" name="Google Shape;537;p14"/>
            <p:cNvSpPr/>
            <p:nvPr/>
          </p:nvSpPr>
          <p:spPr>
            <a:xfrm>
              <a:off x="2451508" y="5518204"/>
              <a:ext cx="33337" cy="57150"/>
            </a:xfrm>
            <a:custGeom>
              <a:avLst/>
              <a:gdLst/>
              <a:ahLst/>
              <a:cxnLst/>
              <a:rect l="l" t="t" r="r" b="b"/>
              <a:pathLst>
                <a:path w="73" h="20" extrusionOk="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38" name="Google Shape;538;p14"/>
            <p:cNvSpPr/>
            <p:nvPr/>
          </p:nvSpPr>
          <p:spPr>
            <a:xfrm>
              <a:off x="610008" y="1619304"/>
              <a:ext cx="784225" cy="446088"/>
            </a:xfrm>
            <a:custGeom>
              <a:avLst/>
              <a:gdLst/>
              <a:ahLst/>
              <a:cxnLst/>
              <a:rect l="l" t="t" r="r" b="b"/>
              <a:pathLst>
                <a:path w="1808" h="850" extrusionOk="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39" name="Google Shape;539;p14"/>
            <p:cNvSpPr/>
            <p:nvPr/>
          </p:nvSpPr>
          <p:spPr>
            <a:xfrm>
              <a:off x="1070383" y="2235254"/>
              <a:ext cx="1381125" cy="769938"/>
            </a:xfrm>
            <a:custGeom>
              <a:avLst/>
              <a:gdLst/>
              <a:ahLst/>
              <a:cxnLst/>
              <a:rect l="l" t="t" r="r" b="b"/>
              <a:pathLst>
                <a:path w="3175" h="1472" extrusionOk="0">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0" name="Google Shape;540;p14"/>
            <p:cNvSpPr/>
            <p:nvPr/>
          </p:nvSpPr>
          <p:spPr>
            <a:xfrm>
              <a:off x="1903820" y="3786242"/>
              <a:ext cx="339725" cy="590550"/>
            </a:xfrm>
            <a:custGeom>
              <a:avLst/>
              <a:gdLst/>
              <a:ahLst/>
              <a:cxnLst/>
              <a:rect l="l" t="t" r="r" b="b"/>
              <a:pathLst>
                <a:path w="784" h="1128" extrusionOk="0">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1" name="Google Shape;541;p14"/>
            <p:cNvSpPr/>
            <p:nvPr/>
          </p:nvSpPr>
          <p:spPr>
            <a:xfrm>
              <a:off x="2203858" y="4349804"/>
              <a:ext cx="261937" cy="1130300"/>
            </a:xfrm>
            <a:custGeom>
              <a:avLst/>
              <a:gdLst/>
              <a:ahLst/>
              <a:cxnLst/>
              <a:rect l="l" t="t" r="r" b="b"/>
              <a:pathLst>
                <a:path w="598" h="2158" extrusionOk="0">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2" name="Google Shape;542;p14"/>
            <p:cNvSpPr/>
            <p:nvPr/>
          </p:nvSpPr>
          <p:spPr>
            <a:xfrm>
              <a:off x="2108608" y="3632254"/>
              <a:ext cx="966787" cy="1203325"/>
            </a:xfrm>
            <a:custGeom>
              <a:avLst/>
              <a:gdLst/>
              <a:ahLst/>
              <a:cxnLst/>
              <a:rect l="l" t="t" r="r" b="b"/>
              <a:pathLst>
                <a:path w="2226" h="2292" extrusionOk="0">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3" name="Google Shape;543;p14"/>
            <p:cNvSpPr/>
            <p:nvPr/>
          </p:nvSpPr>
          <p:spPr>
            <a:xfrm>
              <a:off x="4221570" y="2578154"/>
              <a:ext cx="69850" cy="49213"/>
            </a:xfrm>
            <a:custGeom>
              <a:avLst/>
              <a:gdLst/>
              <a:ahLst/>
              <a:cxnLst/>
              <a:rect l="l" t="t" r="r" b="b"/>
              <a:pathLst>
                <a:path w="161" h="93" extrusionOk="0">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4" name="Google Shape;544;p14"/>
            <p:cNvSpPr/>
            <p:nvPr/>
          </p:nvSpPr>
          <p:spPr>
            <a:xfrm>
              <a:off x="3719920" y="2452742"/>
              <a:ext cx="82550" cy="160337"/>
            </a:xfrm>
            <a:custGeom>
              <a:avLst/>
              <a:gdLst/>
              <a:ahLst/>
              <a:cxnLst/>
              <a:rect l="l" t="t" r="r" b="b"/>
              <a:pathLst>
                <a:path w="192" h="307" extrusionOk="0">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5" name="Google Shape;545;p14"/>
            <p:cNvSpPr/>
            <p:nvPr/>
          </p:nvSpPr>
          <p:spPr>
            <a:xfrm>
              <a:off x="3800883" y="1938392"/>
              <a:ext cx="171450" cy="269875"/>
            </a:xfrm>
            <a:custGeom>
              <a:avLst/>
              <a:gdLst/>
              <a:ahLst/>
              <a:cxnLst/>
              <a:rect l="l" t="t" r="r" b="b"/>
              <a:pathLst>
                <a:path w="398" h="518" extrusionOk="0">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6" name="Google Shape;546;p14"/>
            <p:cNvSpPr/>
            <p:nvPr/>
          </p:nvSpPr>
          <p:spPr>
            <a:xfrm>
              <a:off x="4159658" y="2241604"/>
              <a:ext cx="169862" cy="76200"/>
            </a:xfrm>
            <a:custGeom>
              <a:avLst/>
              <a:gdLst/>
              <a:ahLst/>
              <a:cxnLst/>
              <a:rect l="l" t="t" r="r" b="b"/>
              <a:pathLst>
                <a:path w="382" h="148" extrusionOk="0">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7" name="Google Shape;547;p14"/>
            <p:cNvSpPr/>
            <p:nvPr/>
          </p:nvSpPr>
          <p:spPr>
            <a:xfrm>
              <a:off x="5651908" y="2090792"/>
              <a:ext cx="1281112" cy="1038225"/>
            </a:xfrm>
            <a:custGeom>
              <a:avLst/>
              <a:gdLst/>
              <a:ahLst/>
              <a:cxnLst/>
              <a:rect l="l" t="t" r="r" b="b"/>
              <a:pathLst>
                <a:path w="2936" h="1983" extrusionOk="0">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8" name="Google Shape;548;p14"/>
            <p:cNvSpPr/>
            <p:nvPr/>
          </p:nvSpPr>
          <p:spPr>
            <a:xfrm>
              <a:off x="4343808" y="1632004"/>
              <a:ext cx="220662" cy="273050"/>
            </a:xfrm>
            <a:custGeom>
              <a:avLst/>
              <a:gdLst/>
              <a:ahLst/>
              <a:cxnLst/>
              <a:rect l="l" t="t" r="r" b="b"/>
              <a:pathLst>
                <a:path w="504" h="524" extrusionOk="0">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9" name="Google Shape;549;p14"/>
            <p:cNvSpPr/>
            <p:nvPr/>
          </p:nvSpPr>
          <p:spPr>
            <a:xfrm>
              <a:off x="4080283" y="2049517"/>
              <a:ext cx="182562" cy="238125"/>
            </a:xfrm>
            <a:custGeom>
              <a:avLst/>
              <a:gdLst/>
              <a:ahLst/>
              <a:cxnLst/>
              <a:rect l="l" t="t" r="r" b="b"/>
              <a:pathLst>
                <a:path w="438" h="451" extrusionOk="0">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0" name="Google Shape;550;p14"/>
            <p:cNvSpPr/>
            <p:nvPr/>
          </p:nvSpPr>
          <p:spPr>
            <a:xfrm>
              <a:off x="4105683" y="2306692"/>
              <a:ext cx="250825" cy="274637"/>
            </a:xfrm>
            <a:custGeom>
              <a:avLst/>
              <a:gdLst/>
              <a:ahLst/>
              <a:cxnLst/>
              <a:rect l="l" t="t" r="r" b="b"/>
              <a:pathLst>
                <a:path w="578" h="524" extrusionOk="0">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1" name="Google Shape;551;p14"/>
            <p:cNvSpPr/>
            <p:nvPr/>
          </p:nvSpPr>
          <p:spPr>
            <a:xfrm>
              <a:off x="4123145" y="2474967"/>
              <a:ext cx="33338" cy="82550"/>
            </a:xfrm>
            <a:custGeom>
              <a:avLst/>
              <a:gdLst/>
              <a:ahLst/>
              <a:cxnLst/>
              <a:rect l="l" t="t" r="r" b="b"/>
              <a:pathLst>
                <a:path w="79" h="160" extrusionOk="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552" name="Google Shape;552;p14"/>
            <p:cNvGrpSpPr/>
            <p:nvPr/>
          </p:nvGrpSpPr>
          <p:grpSpPr>
            <a:xfrm>
              <a:off x="6442483" y="3535417"/>
              <a:ext cx="473075" cy="212725"/>
              <a:chOff x="4488" y="2394"/>
              <a:chExt cx="358" cy="124"/>
            </a:xfrm>
          </p:grpSpPr>
          <p:sp>
            <p:nvSpPr>
              <p:cNvPr id="553" name="Google Shape;553;p14"/>
              <p:cNvSpPr/>
              <p:nvPr/>
            </p:nvSpPr>
            <p:spPr>
              <a:xfrm>
                <a:off x="4675" y="2394"/>
                <a:ext cx="171" cy="124"/>
              </a:xfrm>
              <a:custGeom>
                <a:avLst/>
                <a:gdLst/>
                <a:ahLst/>
                <a:cxnLst/>
                <a:rect l="l" t="t" r="r" b="b"/>
                <a:pathLst>
                  <a:path w="512" h="408" extrusionOk="0">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54" name="Google Shape;554;p14"/>
              <p:cNvSpPr/>
              <p:nvPr/>
            </p:nvSpPr>
            <p:spPr>
              <a:xfrm>
                <a:off x="4488" y="2420"/>
                <a:ext cx="77" cy="89"/>
              </a:xfrm>
              <a:custGeom>
                <a:avLst/>
                <a:gdLst/>
                <a:ahLst/>
                <a:cxnLst/>
                <a:rect l="l" t="t" r="r" b="b"/>
                <a:pathLst>
                  <a:path w="232" h="289" extrusionOk="0">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555" name="Google Shape;555;p14"/>
            <p:cNvSpPr/>
            <p:nvPr/>
          </p:nvSpPr>
          <p:spPr>
            <a:xfrm>
              <a:off x="4464458" y="1411342"/>
              <a:ext cx="3065462" cy="1074737"/>
            </a:xfrm>
            <a:custGeom>
              <a:avLst/>
              <a:gdLst/>
              <a:ahLst/>
              <a:cxnLst/>
              <a:rect l="l" t="t" r="r" b="b"/>
              <a:pathLst>
                <a:path w="7049" h="2048" extrusionOk="0">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6" name="Google Shape;556;p14"/>
            <p:cNvSpPr/>
            <p:nvPr/>
          </p:nvSpPr>
          <p:spPr>
            <a:xfrm>
              <a:off x="3727858" y="2398767"/>
              <a:ext cx="280987" cy="247650"/>
            </a:xfrm>
            <a:custGeom>
              <a:avLst/>
              <a:gdLst/>
              <a:ahLst/>
              <a:cxnLst/>
              <a:rect l="l" t="t" r="r" b="b"/>
              <a:pathLst>
                <a:path w="647" h="470" extrusionOk="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7" name="Google Shape;557;p14"/>
            <p:cNvSpPr/>
            <p:nvPr/>
          </p:nvSpPr>
          <p:spPr>
            <a:xfrm>
              <a:off x="6359933" y="3136954"/>
              <a:ext cx="207962" cy="455613"/>
            </a:xfrm>
            <a:custGeom>
              <a:avLst/>
              <a:gdLst/>
              <a:ahLst/>
              <a:cxnLst/>
              <a:rect l="l" t="t" r="r" b="b"/>
              <a:pathLst>
                <a:path w="479" h="868" extrusionOk="0">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FFFFFF"/>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8" name="Google Shape;558;p14"/>
            <p:cNvSpPr/>
            <p:nvPr/>
          </p:nvSpPr>
          <p:spPr>
            <a:xfrm>
              <a:off x="2468970" y="5524554"/>
              <a:ext cx="23813" cy="57150"/>
            </a:xfrm>
            <a:custGeom>
              <a:avLst/>
              <a:gdLst/>
              <a:ahLst/>
              <a:cxnLst/>
              <a:rect l="l" t="t" r="r" b="b"/>
              <a:pathLst>
                <a:path w="53" h="19" extrusionOk="0">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559" name="Google Shape;559;p14" descr="Horizontal dunkel"/>
            <p:cNvCxnSpPr/>
            <p:nvPr/>
          </p:nvCxnSpPr>
          <p:spPr>
            <a:xfrm>
              <a:off x="930683" y="2446392"/>
              <a:ext cx="3175" cy="9525"/>
            </a:xfrm>
            <a:prstGeom prst="straightConnector1">
              <a:avLst/>
            </a:prstGeom>
            <a:noFill/>
            <a:ln w="9525" cap="flat" cmpd="sng">
              <a:solidFill>
                <a:srgbClr val="FFFFFF"/>
              </a:solidFill>
              <a:prstDash val="solid"/>
              <a:round/>
              <a:headEnd type="none" w="med" len="med"/>
              <a:tailEnd type="none" w="med" len="med"/>
            </a:ln>
          </p:spPr>
        </p:cxnSp>
        <p:sp>
          <p:nvSpPr>
            <p:cNvPr id="560" name="Google Shape;560;p14"/>
            <p:cNvSpPr/>
            <p:nvPr/>
          </p:nvSpPr>
          <p:spPr>
            <a:xfrm>
              <a:off x="933858" y="2443217"/>
              <a:ext cx="3175" cy="55562"/>
            </a:xfrm>
            <a:custGeom>
              <a:avLst/>
              <a:gdLst/>
              <a:ahLst/>
              <a:cxnLst/>
              <a:rect l="l" t="t" r="r" b="b"/>
              <a:pathLst>
                <a:path w="6" h="24" extrusionOk="0">
                  <a:moveTo>
                    <a:pt x="0" y="24"/>
                  </a:moveTo>
                  <a:lnTo>
                    <a:pt x="0" y="19"/>
                  </a:lnTo>
                  <a:lnTo>
                    <a:pt x="1" y="14"/>
                  </a:lnTo>
                  <a:lnTo>
                    <a:pt x="3" y="8"/>
                  </a:lnTo>
                  <a:lnTo>
                    <a:pt x="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1" name="Google Shape;561;p14"/>
            <p:cNvSpPr/>
            <p:nvPr/>
          </p:nvSpPr>
          <p:spPr>
            <a:xfrm>
              <a:off x="910045" y="2497192"/>
              <a:ext cx="23813" cy="57150"/>
            </a:xfrm>
            <a:custGeom>
              <a:avLst/>
              <a:gdLst/>
              <a:ahLst/>
              <a:cxnLst/>
              <a:rect l="l" t="t" r="r" b="b"/>
              <a:pathLst>
                <a:path w="47" h="67" extrusionOk="0">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2" name="Google Shape;562;p14"/>
            <p:cNvSpPr/>
            <p:nvPr/>
          </p:nvSpPr>
          <p:spPr>
            <a:xfrm>
              <a:off x="2235608" y="2492429"/>
              <a:ext cx="49212" cy="57150"/>
            </a:xfrm>
            <a:custGeom>
              <a:avLst/>
              <a:gdLst/>
              <a:ahLst/>
              <a:cxnLst/>
              <a:rect l="l" t="t" r="r" b="b"/>
              <a:pathLst>
                <a:path w="112" h="36" extrusionOk="0">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3" name="Google Shape;563;p14"/>
            <p:cNvSpPr/>
            <p:nvPr/>
          </p:nvSpPr>
          <p:spPr>
            <a:xfrm>
              <a:off x="4974045" y="2049517"/>
              <a:ext cx="874713" cy="452437"/>
            </a:xfrm>
            <a:custGeom>
              <a:avLst/>
              <a:gdLst/>
              <a:ahLst/>
              <a:cxnLst/>
              <a:rect l="l" t="t" r="r" b="b"/>
              <a:pathLst>
                <a:path w="2006" h="863" extrusionOk="0">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4" name="Google Shape;564;p14"/>
            <p:cNvSpPr/>
            <p:nvPr/>
          </p:nvSpPr>
          <p:spPr>
            <a:xfrm>
              <a:off x="5204233" y="2352729"/>
              <a:ext cx="409575" cy="249238"/>
            </a:xfrm>
            <a:custGeom>
              <a:avLst/>
              <a:gdLst/>
              <a:ahLst/>
              <a:cxnLst/>
              <a:rect l="l" t="t" r="r" b="b"/>
              <a:pathLst>
                <a:path w="950" h="468" extrusionOk="0">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5" name="Google Shape;565;p14"/>
            <p:cNvSpPr/>
            <p:nvPr/>
          </p:nvSpPr>
          <p:spPr>
            <a:xfrm>
              <a:off x="4012020" y="3356029"/>
              <a:ext cx="296863" cy="288925"/>
            </a:xfrm>
            <a:custGeom>
              <a:avLst/>
              <a:gdLst/>
              <a:ahLst/>
              <a:cxnLst/>
              <a:rect l="l" t="t" r="r" b="b"/>
              <a:pathLst>
                <a:path w="671" h="549" extrusionOk="0">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6" name="Google Shape;566;p14"/>
            <p:cNvSpPr/>
            <p:nvPr/>
          </p:nvSpPr>
          <p:spPr>
            <a:xfrm>
              <a:off x="4854983" y="3221092"/>
              <a:ext cx="152400" cy="169862"/>
            </a:xfrm>
            <a:custGeom>
              <a:avLst/>
              <a:gdLst/>
              <a:ahLst/>
              <a:cxnLst/>
              <a:rect l="l" t="t" r="r" b="b"/>
              <a:pathLst>
                <a:path w="358" h="327" extrusionOk="0">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7" name="Google Shape;567;p14"/>
            <p:cNvSpPr/>
            <p:nvPr/>
          </p:nvSpPr>
          <p:spPr>
            <a:xfrm>
              <a:off x="4316820" y="2225729"/>
              <a:ext cx="125413" cy="57150"/>
            </a:xfrm>
            <a:custGeom>
              <a:avLst/>
              <a:gdLst/>
              <a:ahLst/>
              <a:cxnLst/>
              <a:rect l="l" t="t" r="r" b="b"/>
              <a:pathLst>
                <a:path w="292" h="99" extrusionOk="0">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8" name="Google Shape;568;p14"/>
            <p:cNvSpPr/>
            <p:nvPr/>
          </p:nvSpPr>
          <p:spPr>
            <a:xfrm>
              <a:off x="5180420" y="2946454"/>
              <a:ext cx="19050" cy="57150"/>
            </a:xfrm>
            <a:custGeom>
              <a:avLst/>
              <a:gdLst/>
              <a:ahLst/>
              <a:cxnLst/>
              <a:rect l="l" t="t" r="r" b="b"/>
              <a:pathLst>
                <a:path w="43" h="93" extrusionOk="0">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9" name="Google Shape;569;p14"/>
            <p:cNvSpPr/>
            <p:nvPr/>
          </p:nvSpPr>
          <p:spPr>
            <a:xfrm>
              <a:off x="5299483" y="2951217"/>
              <a:ext cx="14287" cy="57150"/>
            </a:xfrm>
            <a:custGeom>
              <a:avLst/>
              <a:gdLst/>
              <a:ahLst/>
              <a:cxnLst/>
              <a:rect l="l" t="t" r="r" b="b"/>
              <a:pathLst>
                <a:path w="40" h="56" extrusionOk="0">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0" name="Google Shape;570;p14"/>
            <p:cNvSpPr/>
            <p:nvPr/>
          </p:nvSpPr>
          <p:spPr>
            <a:xfrm>
              <a:off x="6786970" y="3611617"/>
              <a:ext cx="44450" cy="57150"/>
            </a:xfrm>
            <a:custGeom>
              <a:avLst/>
              <a:gdLst/>
              <a:ahLst/>
              <a:cxnLst/>
              <a:rect l="l" t="t" r="r" b="b"/>
              <a:pathLst>
                <a:path w="106" h="71" extrusionOk="0">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571" name="Google Shape;571;p14"/>
            <p:cNvGrpSpPr/>
            <p:nvPr/>
          </p:nvGrpSpPr>
          <p:grpSpPr>
            <a:xfrm>
              <a:off x="2638833" y="5419779"/>
              <a:ext cx="65087" cy="55563"/>
              <a:chOff x="1654" y="3671"/>
              <a:chExt cx="49" cy="17"/>
            </a:xfrm>
          </p:grpSpPr>
          <p:sp>
            <p:nvSpPr>
              <p:cNvPr id="572" name="Google Shape;572;p14"/>
              <p:cNvSpPr/>
              <p:nvPr/>
            </p:nvSpPr>
            <p:spPr>
              <a:xfrm>
                <a:off x="1654" y="3672"/>
                <a:ext cx="20" cy="14"/>
              </a:xfrm>
              <a:custGeom>
                <a:avLst/>
                <a:gdLst/>
                <a:ahLst/>
                <a:cxnLst/>
                <a:rect l="l" t="t" r="r" b="b"/>
                <a:pathLst>
                  <a:path w="59" h="43" extrusionOk="0">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3" name="Google Shape;573;p14"/>
              <p:cNvSpPr/>
              <p:nvPr/>
            </p:nvSpPr>
            <p:spPr>
              <a:xfrm>
                <a:off x="1681" y="3671"/>
                <a:ext cx="22" cy="17"/>
              </a:xfrm>
              <a:custGeom>
                <a:avLst/>
                <a:gdLst/>
                <a:ahLst/>
                <a:cxnLst/>
                <a:rect l="l" t="t" r="r" b="b"/>
                <a:pathLst>
                  <a:path w="67" h="51" extrusionOk="0">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574" name="Google Shape;574;p14"/>
            <p:cNvSpPr/>
            <p:nvPr/>
          </p:nvSpPr>
          <p:spPr>
            <a:xfrm>
              <a:off x="2286408" y="3214742"/>
              <a:ext cx="31750" cy="58737"/>
            </a:xfrm>
            <a:custGeom>
              <a:avLst/>
              <a:gdLst/>
              <a:ahLst/>
              <a:cxnLst/>
              <a:rect l="l" t="t" r="r" b="b"/>
              <a:pathLst>
                <a:path w="80" h="34" extrusionOk="0">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5" name="Google Shape;575;p14"/>
            <p:cNvSpPr/>
            <p:nvPr/>
          </p:nvSpPr>
          <p:spPr>
            <a:xfrm>
              <a:off x="2341970" y="3221092"/>
              <a:ext cx="1588" cy="58737"/>
            </a:xfrm>
            <a:custGeom>
              <a:avLst/>
              <a:gdLst/>
              <a:ahLst/>
              <a:cxnLst/>
              <a:rect l="l" t="t" r="r" b="b"/>
              <a:pathLst>
                <a:path w="7" h="13" extrusionOk="0">
                  <a:moveTo>
                    <a:pt x="0" y="0"/>
                  </a:moveTo>
                  <a:lnTo>
                    <a:pt x="7" y="13"/>
                  </a:lnTo>
                  <a:lnTo>
                    <a:pt x="7"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6" name="Google Shape;576;p14"/>
            <p:cNvSpPr/>
            <p:nvPr/>
          </p:nvSpPr>
          <p:spPr>
            <a:xfrm>
              <a:off x="2354670" y="3222679"/>
              <a:ext cx="6350" cy="58738"/>
            </a:xfrm>
            <a:custGeom>
              <a:avLst/>
              <a:gdLst/>
              <a:ahLst/>
              <a:cxnLst/>
              <a:rect l="l" t="t" r="r" b="b"/>
              <a:pathLst>
                <a:path w="20" h="6" extrusionOk="0">
                  <a:moveTo>
                    <a:pt x="0" y="0"/>
                  </a:moveTo>
                  <a:lnTo>
                    <a:pt x="7" y="3"/>
                  </a:lnTo>
                  <a:lnTo>
                    <a:pt x="20" y="6"/>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7" name="Google Shape;577;p14"/>
            <p:cNvSpPr/>
            <p:nvPr/>
          </p:nvSpPr>
          <p:spPr>
            <a:xfrm>
              <a:off x="2368958" y="3213154"/>
              <a:ext cx="7937" cy="57150"/>
            </a:xfrm>
            <a:custGeom>
              <a:avLst/>
              <a:gdLst/>
              <a:ahLst/>
              <a:cxnLst/>
              <a:rect l="l" t="t" r="r" b="b"/>
              <a:pathLst>
                <a:path w="14" h="12" extrusionOk="0">
                  <a:moveTo>
                    <a:pt x="0" y="12"/>
                  </a:moveTo>
                  <a:lnTo>
                    <a:pt x="14" y="0"/>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8" name="Google Shape;578;p14"/>
            <p:cNvSpPr/>
            <p:nvPr/>
          </p:nvSpPr>
          <p:spPr>
            <a:xfrm>
              <a:off x="2348320" y="3205217"/>
              <a:ext cx="11113" cy="58737"/>
            </a:xfrm>
            <a:custGeom>
              <a:avLst/>
              <a:gdLst/>
              <a:ahLst/>
              <a:cxnLst/>
              <a:rect l="l" t="t" r="r" b="b"/>
              <a:pathLst>
                <a:path w="27" h="7" extrusionOk="0">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9" name="Google Shape;579;p14"/>
            <p:cNvSpPr/>
            <p:nvPr/>
          </p:nvSpPr>
          <p:spPr>
            <a:xfrm>
              <a:off x="2397533" y="3233792"/>
              <a:ext cx="14287" cy="60325"/>
            </a:xfrm>
            <a:custGeom>
              <a:avLst/>
              <a:gdLst/>
              <a:ahLst/>
              <a:cxnLst/>
              <a:rect l="l" t="t" r="r" b="b"/>
              <a:pathLst>
                <a:path w="27" h="6" extrusionOk="0">
                  <a:moveTo>
                    <a:pt x="0" y="0"/>
                  </a:moveTo>
                  <a:lnTo>
                    <a:pt x="11" y="3"/>
                  </a:lnTo>
                  <a:lnTo>
                    <a:pt x="27"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580" name="Google Shape;580;p14"/>
            <p:cNvCxnSpPr/>
            <p:nvPr/>
          </p:nvCxnSpPr>
          <p:spPr>
            <a:xfrm rot="10800000">
              <a:off x="2405470" y="3230617"/>
              <a:ext cx="6350" cy="9525"/>
            </a:xfrm>
            <a:prstGeom prst="straightConnector1">
              <a:avLst/>
            </a:prstGeom>
            <a:noFill/>
            <a:ln w="9525" cap="flat" cmpd="sng">
              <a:solidFill>
                <a:srgbClr val="FFFFFF"/>
              </a:solidFill>
              <a:prstDash val="solid"/>
              <a:round/>
              <a:headEnd type="none" w="med" len="med"/>
              <a:tailEnd type="none" w="med" len="med"/>
            </a:ln>
          </p:spPr>
        </p:cxnSp>
        <p:cxnSp>
          <p:nvCxnSpPr>
            <p:cNvPr id="581" name="Google Shape;581;p14"/>
            <p:cNvCxnSpPr/>
            <p:nvPr/>
          </p:nvCxnSpPr>
          <p:spPr>
            <a:xfrm flipH="1">
              <a:off x="2405470" y="3256017"/>
              <a:ext cx="6350" cy="11112"/>
            </a:xfrm>
            <a:prstGeom prst="straightConnector1">
              <a:avLst/>
            </a:prstGeom>
            <a:noFill/>
            <a:ln w="9525" cap="flat" cmpd="sng">
              <a:solidFill>
                <a:srgbClr val="FFFFFF"/>
              </a:solidFill>
              <a:prstDash val="solid"/>
              <a:round/>
              <a:headEnd type="none" w="med" len="med"/>
              <a:tailEnd type="none" w="med" len="med"/>
            </a:ln>
          </p:spPr>
        </p:cxnSp>
        <p:sp>
          <p:nvSpPr>
            <p:cNvPr id="582" name="Google Shape;582;p14"/>
            <p:cNvSpPr/>
            <p:nvPr/>
          </p:nvSpPr>
          <p:spPr>
            <a:xfrm>
              <a:off x="2405470" y="3251254"/>
              <a:ext cx="11113" cy="58738"/>
            </a:xfrm>
            <a:custGeom>
              <a:avLst/>
              <a:gdLst/>
              <a:ahLst/>
              <a:cxnLst/>
              <a:rect l="l" t="t" r="r" b="b"/>
              <a:pathLst>
                <a:path w="20" h="24" extrusionOk="0">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3" name="Google Shape;583;p14"/>
            <p:cNvSpPr/>
            <p:nvPr/>
          </p:nvSpPr>
          <p:spPr>
            <a:xfrm>
              <a:off x="2411820" y="3279829"/>
              <a:ext cx="17463" cy="55563"/>
            </a:xfrm>
            <a:custGeom>
              <a:avLst/>
              <a:gdLst/>
              <a:ahLst/>
              <a:cxnLst/>
              <a:rect l="l" t="t" r="r" b="b"/>
              <a:pathLst>
                <a:path w="33" h="25" extrusionOk="0">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4" name="Google Shape;584;p14"/>
            <p:cNvSpPr/>
            <p:nvPr/>
          </p:nvSpPr>
          <p:spPr>
            <a:xfrm>
              <a:off x="2418170" y="3327454"/>
              <a:ext cx="15875" cy="57150"/>
            </a:xfrm>
            <a:custGeom>
              <a:avLst/>
              <a:gdLst/>
              <a:ahLst/>
              <a:cxnLst/>
              <a:rect l="l" t="t" r="r" b="b"/>
              <a:pathLst>
                <a:path w="40" h="18" extrusionOk="0">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5" name="Google Shape;585;p14"/>
            <p:cNvSpPr/>
            <p:nvPr/>
          </p:nvSpPr>
          <p:spPr>
            <a:xfrm>
              <a:off x="2427695" y="3352854"/>
              <a:ext cx="3175" cy="57150"/>
            </a:xfrm>
            <a:custGeom>
              <a:avLst/>
              <a:gdLst/>
              <a:ahLst/>
              <a:cxnLst/>
              <a:rect l="l" t="t" r="r" b="b"/>
              <a:pathLst>
                <a:path w="11" h="32" extrusionOk="0">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6" name="Google Shape;586;p14"/>
            <p:cNvSpPr/>
            <p:nvPr/>
          </p:nvSpPr>
          <p:spPr>
            <a:xfrm>
              <a:off x="2449920" y="3383017"/>
              <a:ext cx="1588" cy="55562"/>
            </a:xfrm>
            <a:custGeom>
              <a:avLst/>
              <a:gdLst/>
              <a:ahLst/>
              <a:cxnLst/>
              <a:rect l="l" t="t" r="r" b="b"/>
              <a:pathLst>
                <a:path w="14" h="24" extrusionOk="0">
                  <a:moveTo>
                    <a:pt x="0" y="0"/>
                  </a:moveTo>
                  <a:lnTo>
                    <a:pt x="0" y="24"/>
                  </a:lnTo>
                  <a:lnTo>
                    <a:pt x="14" y="1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7" name="Google Shape;587;p14"/>
            <p:cNvSpPr/>
            <p:nvPr/>
          </p:nvSpPr>
          <p:spPr>
            <a:xfrm>
              <a:off x="2411820" y="3395717"/>
              <a:ext cx="15875" cy="58737"/>
            </a:xfrm>
            <a:custGeom>
              <a:avLst/>
              <a:gdLst/>
              <a:ahLst/>
              <a:cxnLst/>
              <a:rect l="l" t="t" r="r" b="b"/>
              <a:pathLst>
                <a:path w="27" h="18" extrusionOk="0">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8" name="Google Shape;588;p14"/>
            <p:cNvSpPr/>
            <p:nvPr/>
          </p:nvSpPr>
          <p:spPr>
            <a:xfrm>
              <a:off x="2397533" y="3460804"/>
              <a:ext cx="23812" cy="57150"/>
            </a:xfrm>
            <a:custGeom>
              <a:avLst/>
              <a:gdLst/>
              <a:ahLst/>
              <a:cxnLst/>
              <a:rect l="l" t="t" r="r" b="b"/>
              <a:pathLst>
                <a:path w="47" h="49" extrusionOk="0">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9" name="Google Shape;589;p14"/>
            <p:cNvSpPr/>
            <p:nvPr/>
          </p:nvSpPr>
          <p:spPr>
            <a:xfrm>
              <a:off x="2416583" y="3436992"/>
              <a:ext cx="12700" cy="57150"/>
            </a:xfrm>
            <a:custGeom>
              <a:avLst/>
              <a:gdLst/>
              <a:ahLst/>
              <a:cxnLst/>
              <a:rect l="l" t="t" r="r" b="b"/>
              <a:pathLst>
                <a:path w="26" h="9" extrusionOk="0">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0" name="Google Shape;590;p14"/>
            <p:cNvSpPr/>
            <p:nvPr/>
          </p:nvSpPr>
          <p:spPr>
            <a:xfrm>
              <a:off x="1899058" y="3108379"/>
              <a:ext cx="15875" cy="57150"/>
            </a:xfrm>
            <a:custGeom>
              <a:avLst/>
              <a:gdLst/>
              <a:ahLst/>
              <a:cxnLst/>
              <a:rect l="l" t="t" r="r" b="b"/>
              <a:pathLst>
                <a:path w="39" h="18" extrusionOk="0">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591" name="Google Shape;591;p14"/>
            <p:cNvGrpSpPr/>
            <p:nvPr/>
          </p:nvGrpSpPr>
          <p:grpSpPr>
            <a:xfrm>
              <a:off x="2024470" y="2941692"/>
              <a:ext cx="131763" cy="195262"/>
              <a:chOff x="1199" y="2121"/>
              <a:chExt cx="97" cy="123"/>
            </a:xfrm>
          </p:grpSpPr>
          <p:sp>
            <p:nvSpPr>
              <p:cNvPr id="592" name="Google Shape;592;p14"/>
              <p:cNvSpPr/>
              <p:nvPr/>
            </p:nvSpPr>
            <p:spPr>
              <a:xfrm>
                <a:off x="1274" y="2236"/>
                <a:ext cx="16" cy="8"/>
              </a:xfrm>
              <a:custGeom>
                <a:avLst/>
                <a:gdLst/>
                <a:ahLst/>
                <a:cxnLst/>
                <a:rect l="l" t="t" r="r" b="b"/>
                <a:pathLst>
                  <a:path w="52" h="25" extrusionOk="0">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3" name="Google Shape;593;p14"/>
              <p:cNvSpPr/>
              <p:nvPr/>
            </p:nvSpPr>
            <p:spPr>
              <a:xfrm>
                <a:off x="1199" y="2131"/>
                <a:ext cx="11" cy="4"/>
              </a:xfrm>
              <a:custGeom>
                <a:avLst/>
                <a:gdLst/>
                <a:ahLst/>
                <a:cxnLst/>
                <a:rect l="l" t="t" r="r" b="b"/>
                <a:pathLst>
                  <a:path w="33" h="13" extrusionOk="0">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4" name="Google Shape;594;p14"/>
              <p:cNvSpPr/>
              <p:nvPr/>
            </p:nvSpPr>
            <p:spPr>
              <a:xfrm>
                <a:off x="1210" y="2121"/>
                <a:ext cx="20" cy="28"/>
              </a:xfrm>
              <a:custGeom>
                <a:avLst/>
                <a:gdLst/>
                <a:ahLst/>
                <a:cxnLst/>
                <a:rect l="l" t="t" r="r" b="b"/>
                <a:pathLst>
                  <a:path w="67" h="86" extrusionOk="0">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5" name="Google Shape;595;p14"/>
              <p:cNvSpPr/>
              <p:nvPr/>
            </p:nvSpPr>
            <p:spPr>
              <a:xfrm>
                <a:off x="1201" y="2159"/>
                <a:ext cx="16" cy="28"/>
              </a:xfrm>
              <a:custGeom>
                <a:avLst/>
                <a:gdLst/>
                <a:ahLst/>
                <a:cxnLst/>
                <a:rect l="l" t="t" r="r" b="b"/>
                <a:pathLst>
                  <a:path w="49" h="86" extrusionOk="0">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6" name="Google Shape;596;p14"/>
              <p:cNvSpPr/>
              <p:nvPr/>
            </p:nvSpPr>
            <p:spPr>
              <a:xfrm>
                <a:off x="1226" y="2161"/>
                <a:ext cx="2" cy="4"/>
              </a:xfrm>
              <a:custGeom>
                <a:avLst/>
                <a:gdLst/>
                <a:ahLst/>
                <a:cxnLst/>
                <a:rect l="l" t="t" r="r" b="b"/>
                <a:pathLst>
                  <a:path w="6" h="12" extrusionOk="0">
                    <a:moveTo>
                      <a:pt x="0" y="12"/>
                    </a:moveTo>
                    <a:lnTo>
                      <a:pt x="6" y="0"/>
                    </a:lnTo>
                    <a:lnTo>
                      <a:pt x="4" y="0"/>
                    </a:lnTo>
                    <a:lnTo>
                      <a:pt x="2" y="2"/>
                    </a:lnTo>
                    <a:lnTo>
                      <a:pt x="1" y="4"/>
                    </a:lnTo>
                    <a:lnTo>
                      <a:pt x="0" y="6"/>
                    </a:lnTo>
                    <a:lnTo>
                      <a:pt x="0" y="10"/>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7" name="Google Shape;597;p14"/>
              <p:cNvSpPr/>
              <p:nvPr/>
            </p:nvSpPr>
            <p:spPr>
              <a:xfrm>
                <a:off x="1230" y="2154"/>
                <a:ext cx="13" cy="15"/>
              </a:xfrm>
              <a:custGeom>
                <a:avLst/>
                <a:gdLst/>
                <a:ahLst/>
                <a:cxnLst/>
                <a:rect l="l" t="t" r="r" b="b"/>
                <a:pathLst>
                  <a:path w="39" h="48" extrusionOk="0">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8" name="Google Shape;598;p14"/>
              <p:cNvSpPr/>
              <p:nvPr/>
            </p:nvSpPr>
            <p:spPr>
              <a:xfrm>
                <a:off x="1247" y="2167"/>
                <a:ext cx="6" cy="14"/>
              </a:xfrm>
              <a:custGeom>
                <a:avLst/>
                <a:gdLst/>
                <a:ahLst/>
                <a:cxnLst/>
                <a:rect l="l" t="t" r="r" b="b"/>
                <a:pathLst>
                  <a:path w="16" h="43" extrusionOk="0">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9" name="Google Shape;599;p14"/>
              <p:cNvSpPr/>
              <p:nvPr/>
            </p:nvSpPr>
            <p:spPr>
              <a:xfrm>
                <a:off x="1248" y="2190"/>
                <a:ext cx="8" cy="12"/>
              </a:xfrm>
              <a:custGeom>
                <a:avLst/>
                <a:gdLst/>
                <a:ahLst/>
                <a:cxnLst/>
                <a:rect l="l" t="t" r="r" b="b"/>
                <a:pathLst>
                  <a:path w="24" h="37" extrusionOk="0">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0" name="Google Shape;600;p14"/>
              <p:cNvSpPr/>
              <p:nvPr/>
            </p:nvSpPr>
            <p:spPr>
              <a:xfrm>
                <a:off x="1265" y="2204"/>
                <a:ext cx="11" cy="17"/>
              </a:xfrm>
              <a:custGeom>
                <a:avLst/>
                <a:gdLst/>
                <a:ahLst/>
                <a:cxnLst/>
                <a:rect l="l" t="t" r="r" b="b"/>
                <a:pathLst>
                  <a:path w="34" h="55" extrusionOk="0">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1" name="Google Shape;601;p14"/>
              <p:cNvSpPr/>
              <p:nvPr/>
            </p:nvSpPr>
            <p:spPr>
              <a:xfrm>
                <a:off x="1285" y="2215"/>
                <a:ext cx="11" cy="4"/>
              </a:xfrm>
              <a:custGeom>
                <a:avLst/>
                <a:gdLst/>
                <a:ahLst/>
                <a:cxnLst/>
                <a:rect l="l" t="t" r="r" b="b"/>
                <a:pathLst>
                  <a:path w="33" h="12" extrusionOk="0">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602" name="Google Shape;602;p14"/>
            <p:cNvSpPr/>
            <p:nvPr/>
          </p:nvSpPr>
          <p:spPr>
            <a:xfrm>
              <a:off x="7837895" y="4368854"/>
              <a:ext cx="12700" cy="57150"/>
            </a:xfrm>
            <a:custGeom>
              <a:avLst/>
              <a:gdLst/>
              <a:ahLst/>
              <a:cxnLst/>
              <a:rect l="l" t="t" r="r" b="b"/>
              <a:pathLst>
                <a:path w="33" h="62" extrusionOk="0">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3" name="Google Shape;603;p14"/>
            <p:cNvSpPr/>
            <p:nvPr/>
          </p:nvSpPr>
          <p:spPr>
            <a:xfrm>
              <a:off x="7847420" y="4459342"/>
              <a:ext cx="9525" cy="58737"/>
            </a:xfrm>
            <a:custGeom>
              <a:avLst/>
              <a:gdLst/>
              <a:ahLst/>
              <a:cxnLst/>
              <a:rect l="l" t="t" r="r" b="b"/>
              <a:pathLst>
                <a:path w="26" h="18" extrusionOk="0">
                  <a:moveTo>
                    <a:pt x="0" y="18"/>
                  </a:moveTo>
                  <a:lnTo>
                    <a:pt x="0" y="0"/>
                  </a:lnTo>
                  <a:lnTo>
                    <a:pt x="26" y="0"/>
                  </a:lnTo>
                  <a:lnTo>
                    <a:pt x="6" y="12"/>
                  </a:lnTo>
                  <a:lnTo>
                    <a:pt x="6"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4" name="Google Shape;604;p14"/>
            <p:cNvSpPr/>
            <p:nvPr/>
          </p:nvSpPr>
          <p:spPr>
            <a:xfrm>
              <a:off x="7961720" y="4368854"/>
              <a:ext cx="77788" cy="130175"/>
            </a:xfrm>
            <a:custGeom>
              <a:avLst/>
              <a:gdLst/>
              <a:ahLst/>
              <a:cxnLst/>
              <a:rect l="l" t="t" r="r" b="b"/>
              <a:pathLst>
                <a:path w="180" h="240" extrusionOk="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5" name="Google Shape;605;p14"/>
            <p:cNvSpPr/>
            <p:nvPr/>
          </p:nvSpPr>
          <p:spPr>
            <a:xfrm>
              <a:off x="7961720" y="4341867"/>
              <a:ext cx="14288" cy="57150"/>
            </a:xfrm>
            <a:custGeom>
              <a:avLst/>
              <a:gdLst/>
              <a:ahLst/>
              <a:cxnLst/>
              <a:rect l="l" t="t" r="r" b="b"/>
              <a:pathLst>
                <a:path w="27" h="30" extrusionOk="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06" name="Google Shape;606;p14"/>
            <p:cNvGrpSpPr/>
            <p:nvPr/>
          </p:nvGrpSpPr>
          <p:grpSpPr>
            <a:xfrm>
              <a:off x="7652158" y="4862567"/>
              <a:ext cx="458787" cy="404812"/>
              <a:chOff x="5372" y="3323"/>
              <a:chExt cx="341" cy="253"/>
            </a:xfrm>
          </p:grpSpPr>
          <p:sp>
            <p:nvSpPr>
              <p:cNvPr id="607" name="Google Shape;607;p14"/>
              <p:cNvSpPr/>
              <p:nvPr/>
            </p:nvSpPr>
            <p:spPr>
              <a:xfrm>
                <a:off x="5372" y="3565"/>
                <a:ext cx="16" cy="11"/>
              </a:xfrm>
              <a:custGeom>
                <a:avLst/>
                <a:gdLst/>
                <a:ahLst/>
                <a:cxnLst/>
                <a:rect l="l" t="t" r="r" b="b"/>
                <a:pathLst>
                  <a:path w="53" h="33" extrusionOk="0">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08" name="Google Shape;608;p14"/>
              <p:cNvSpPr/>
              <p:nvPr/>
            </p:nvSpPr>
            <p:spPr>
              <a:xfrm>
                <a:off x="5379" y="3446"/>
                <a:ext cx="202" cy="117"/>
              </a:xfrm>
              <a:custGeom>
                <a:avLst/>
                <a:gdLst/>
                <a:ahLst/>
                <a:cxnLst/>
                <a:rect l="l" t="t" r="r" b="b"/>
                <a:pathLst>
                  <a:path w="631" h="358" extrusionOk="0">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09" name="Google Shape;609;p14"/>
              <p:cNvSpPr/>
              <p:nvPr/>
            </p:nvSpPr>
            <p:spPr>
              <a:xfrm>
                <a:off x="5597" y="3323"/>
                <a:ext cx="116" cy="141"/>
              </a:xfrm>
              <a:custGeom>
                <a:avLst/>
                <a:gdLst/>
                <a:ahLst/>
                <a:cxnLst/>
                <a:rect l="l" t="t" r="r" b="b"/>
                <a:pathLst>
                  <a:path w="359" h="431" extrusionOk="0">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610" name="Google Shape;610;p14"/>
            <p:cNvSpPr/>
            <p:nvPr/>
          </p:nvSpPr>
          <p:spPr>
            <a:xfrm>
              <a:off x="7294970" y="3519542"/>
              <a:ext cx="9525" cy="57150"/>
            </a:xfrm>
            <a:custGeom>
              <a:avLst/>
              <a:gdLst/>
              <a:ahLst/>
              <a:cxnLst/>
              <a:rect l="l" t="t" r="r" b="b"/>
              <a:pathLst>
                <a:path w="21" h="62" extrusionOk="0">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1" name="Google Shape;611;p14"/>
            <p:cNvSpPr/>
            <p:nvPr/>
          </p:nvSpPr>
          <p:spPr>
            <a:xfrm>
              <a:off x="8022045" y="4421242"/>
              <a:ext cx="14288" cy="57150"/>
            </a:xfrm>
            <a:custGeom>
              <a:avLst/>
              <a:gdLst/>
              <a:ahLst/>
              <a:cxnLst/>
              <a:rect l="l" t="t" r="r" b="b"/>
              <a:pathLst>
                <a:path w="33" h="24" extrusionOk="0">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2" name="Google Shape;612;p14"/>
            <p:cNvSpPr/>
            <p:nvPr/>
          </p:nvSpPr>
          <p:spPr>
            <a:xfrm>
              <a:off x="8044270" y="4430767"/>
              <a:ext cx="17463" cy="58737"/>
            </a:xfrm>
            <a:custGeom>
              <a:avLst/>
              <a:gdLst/>
              <a:ahLst/>
              <a:cxnLst/>
              <a:rect l="l" t="t" r="r" b="b"/>
              <a:pathLst>
                <a:path w="33" h="25" extrusionOk="0">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3" name="Google Shape;613;p14"/>
            <p:cNvSpPr/>
            <p:nvPr/>
          </p:nvSpPr>
          <p:spPr>
            <a:xfrm>
              <a:off x="7358470" y="3508429"/>
              <a:ext cx="1588" cy="55563"/>
            </a:xfrm>
            <a:custGeom>
              <a:avLst/>
              <a:gdLst/>
              <a:ahLst/>
              <a:cxnLst/>
              <a:rect l="l" t="t" r="r" b="b"/>
              <a:pathLst>
                <a:path w="7" h="55563" extrusionOk="0">
                  <a:moveTo>
                    <a:pt x="0" y="0"/>
                  </a:moveTo>
                  <a:lnTo>
                    <a:pt x="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4" name="Google Shape;614;p14"/>
            <p:cNvSpPr/>
            <p:nvPr/>
          </p:nvSpPr>
          <p:spPr>
            <a:xfrm>
              <a:off x="7417208" y="3452867"/>
              <a:ext cx="6350" cy="57150"/>
            </a:xfrm>
            <a:custGeom>
              <a:avLst/>
              <a:gdLst/>
              <a:ahLst/>
              <a:cxnLst/>
              <a:rect l="l" t="t" r="r" b="b"/>
              <a:pathLst>
                <a:path w="16" h="25" extrusionOk="0">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5" name="Google Shape;615;p14"/>
            <p:cNvSpPr/>
            <p:nvPr/>
          </p:nvSpPr>
          <p:spPr>
            <a:xfrm>
              <a:off x="7529920" y="3341742"/>
              <a:ext cx="4763" cy="57150"/>
            </a:xfrm>
            <a:custGeom>
              <a:avLst/>
              <a:gdLst/>
              <a:ahLst/>
              <a:cxnLst/>
              <a:rect l="l" t="t" r="r" b="b"/>
              <a:pathLst>
                <a:path w="14" h="18" extrusionOk="0">
                  <a:moveTo>
                    <a:pt x="0" y="0"/>
                  </a:moveTo>
                  <a:lnTo>
                    <a:pt x="3" y="1"/>
                  </a:lnTo>
                  <a:lnTo>
                    <a:pt x="5" y="2"/>
                  </a:lnTo>
                  <a:lnTo>
                    <a:pt x="7" y="4"/>
                  </a:lnTo>
                  <a:lnTo>
                    <a:pt x="9" y="7"/>
                  </a:lnTo>
                  <a:lnTo>
                    <a:pt x="13" y="13"/>
                  </a:lnTo>
                  <a:lnTo>
                    <a:pt x="14" y="1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6" name="Google Shape;616;p14"/>
            <p:cNvSpPr/>
            <p:nvPr/>
          </p:nvSpPr>
          <p:spPr>
            <a:xfrm>
              <a:off x="7682320" y="4040242"/>
              <a:ext cx="26988" cy="58737"/>
            </a:xfrm>
            <a:custGeom>
              <a:avLst/>
              <a:gdLst/>
              <a:ahLst/>
              <a:cxnLst/>
              <a:rect l="l" t="t" r="r" b="b"/>
              <a:pathLst>
                <a:path w="67" h="74" extrusionOk="0">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7" name="Google Shape;617;p14"/>
            <p:cNvSpPr/>
            <p:nvPr/>
          </p:nvSpPr>
          <p:spPr>
            <a:xfrm>
              <a:off x="7745820" y="4054529"/>
              <a:ext cx="12700" cy="57150"/>
            </a:xfrm>
            <a:custGeom>
              <a:avLst/>
              <a:gdLst/>
              <a:ahLst/>
              <a:cxnLst/>
              <a:rect l="l" t="t" r="r" b="b"/>
              <a:pathLst>
                <a:path w="34" h="38" extrusionOk="0">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8" name="Google Shape;618;p14"/>
            <p:cNvSpPr/>
            <p:nvPr/>
          </p:nvSpPr>
          <p:spPr>
            <a:xfrm>
              <a:off x="7602945" y="3830692"/>
              <a:ext cx="25400" cy="55562"/>
            </a:xfrm>
            <a:custGeom>
              <a:avLst/>
              <a:gdLst/>
              <a:ahLst/>
              <a:cxnLst/>
              <a:rect l="l" t="t" r="r" b="b"/>
              <a:pathLst>
                <a:path w="53" h="23" extrusionOk="0">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9" name="Google Shape;619;p14"/>
            <p:cNvSpPr/>
            <p:nvPr/>
          </p:nvSpPr>
          <p:spPr>
            <a:xfrm>
              <a:off x="7545795" y="3805292"/>
              <a:ext cx="11113" cy="57150"/>
            </a:xfrm>
            <a:custGeom>
              <a:avLst/>
              <a:gdLst/>
              <a:ahLst/>
              <a:cxnLst/>
              <a:rect l="l" t="t" r="r" b="b"/>
              <a:pathLst>
                <a:path w="26" h="12" extrusionOk="0">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0" name="Google Shape;620;p14"/>
            <p:cNvSpPr/>
            <p:nvPr/>
          </p:nvSpPr>
          <p:spPr>
            <a:xfrm>
              <a:off x="7745820" y="4137079"/>
              <a:ext cx="31750" cy="57150"/>
            </a:xfrm>
            <a:custGeom>
              <a:avLst/>
              <a:gdLst/>
              <a:ahLst/>
              <a:cxnLst/>
              <a:rect l="l" t="t" r="r" b="b"/>
              <a:pathLst>
                <a:path w="73" h="57150" extrusionOk="0">
                  <a:moveTo>
                    <a:pt x="0" y="0"/>
                  </a:moveTo>
                  <a:lnTo>
                    <a:pt x="20" y="0"/>
                  </a:lnTo>
                  <a:lnTo>
                    <a:pt x="37" y="0"/>
                  </a:lnTo>
                  <a:lnTo>
                    <a:pt x="55" y="0"/>
                  </a:lnTo>
                  <a:lnTo>
                    <a:pt x="7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1" name="Google Shape;621;p14"/>
            <p:cNvSpPr/>
            <p:nvPr/>
          </p:nvSpPr>
          <p:spPr>
            <a:xfrm>
              <a:off x="7701370" y="4125967"/>
              <a:ext cx="22225" cy="57150"/>
            </a:xfrm>
            <a:custGeom>
              <a:avLst/>
              <a:gdLst/>
              <a:ahLst/>
              <a:cxnLst/>
              <a:rect l="l" t="t" r="r" b="b"/>
              <a:pathLst>
                <a:path w="53" h="3" extrusionOk="0">
                  <a:moveTo>
                    <a:pt x="0" y="0"/>
                  </a:moveTo>
                  <a:lnTo>
                    <a:pt x="14" y="0"/>
                  </a:lnTo>
                  <a:lnTo>
                    <a:pt x="27" y="3"/>
                  </a:lnTo>
                  <a:lnTo>
                    <a:pt x="32" y="3"/>
                  </a:lnTo>
                  <a:lnTo>
                    <a:pt x="39" y="3"/>
                  </a:lnTo>
                  <a:lnTo>
                    <a:pt x="45" y="1"/>
                  </a:lnTo>
                  <a:lnTo>
                    <a:pt x="5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22" name="Google Shape;622;p14"/>
            <p:cNvCxnSpPr/>
            <p:nvPr/>
          </p:nvCxnSpPr>
          <p:spPr>
            <a:xfrm>
              <a:off x="7734708" y="4111679"/>
              <a:ext cx="20637" cy="6350"/>
            </a:xfrm>
            <a:prstGeom prst="straightConnector1">
              <a:avLst/>
            </a:prstGeom>
            <a:noFill/>
            <a:ln w="9525" cap="flat" cmpd="sng">
              <a:solidFill>
                <a:srgbClr val="FFFFFF"/>
              </a:solidFill>
              <a:prstDash val="solid"/>
              <a:round/>
              <a:headEnd type="none" w="med" len="med"/>
              <a:tailEnd type="none" w="med" len="med"/>
            </a:ln>
          </p:spPr>
        </p:cxnSp>
        <p:sp>
          <p:nvSpPr>
            <p:cNvPr id="623" name="Google Shape;623;p14"/>
            <p:cNvSpPr/>
            <p:nvPr/>
          </p:nvSpPr>
          <p:spPr>
            <a:xfrm>
              <a:off x="7755345" y="4118029"/>
              <a:ext cx="1588" cy="57150"/>
            </a:xfrm>
            <a:custGeom>
              <a:avLst/>
              <a:gdLst/>
              <a:ahLst/>
              <a:cxnLst/>
              <a:rect l="l" t="t" r="r" b="b"/>
              <a:pathLst>
                <a:path w="1588" h="13" extrusionOk="0">
                  <a:moveTo>
                    <a:pt x="0" y="0"/>
                  </a:moveTo>
                  <a:lnTo>
                    <a:pt x="0" y="6"/>
                  </a:lnTo>
                  <a:lnTo>
                    <a:pt x="0"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4" name="Google Shape;624;p14"/>
            <p:cNvSpPr/>
            <p:nvPr/>
          </p:nvSpPr>
          <p:spPr>
            <a:xfrm>
              <a:off x="7709308" y="4111679"/>
              <a:ext cx="14287" cy="58738"/>
            </a:xfrm>
            <a:custGeom>
              <a:avLst/>
              <a:gdLst/>
              <a:ahLst/>
              <a:cxnLst/>
              <a:rect l="l" t="t" r="r" b="b"/>
              <a:pathLst>
                <a:path w="26" h="58738" extrusionOk="0">
                  <a:moveTo>
                    <a:pt x="0" y="0"/>
                  </a:moveTo>
                  <a:lnTo>
                    <a:pt x="15" y="0"/>
                  </a:lnTo>
                  <a:lnTo>
                    <a:pt x="2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5" name="Google Shape;625;p14"/>
            <p:cNvSpPr/>
            <p:nvPr/>
          </p:nvSpPr>
          <p:spPr>
            <a:xfrm>
              <a:off x="7702958" y="4092629"/>
              <a:ext cx="6350" cy="60325"/>
            </a:xfrm>
            <a:custGeom>
              <a:avLst/>
              <a:gdLst/>
              <a:ahLst/>
              <a:cxnLst/>
              <a:rect l="l" t="t" r="r" b="b"/>
              <a:pathLst>
                <a:path w="20" h="25" extrusionOk="0">
                  <a:moveTo>
                    <a:pt x="20" y="0"/>
                  </a:moveTo>
                  <a:lnTo>
                    <a:pt x="0" y="13"/>
                  </a:lnTo>
                  <a:lnTo>
                    <a:pt x="4" y="18"/>
                  </a:lnTo>
                  <a:lnTo>
                    <a:pt x="10" y="21"/>
                  </a:lnTo>
                  <a:lnTo>
                    <a:pt x="14" y="24"/>
                  </a:lnTo>
                  <a:lnTo>
                    <a:pt x="20" y="25"/>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6" name="Google Shape;626;p14"/>
            <p:cNvSpPr/>
            <p:nvPr/>
          </p:nvSpPr>
          <p:spPr>
            <a:xfrm>
              <a:off x="7783920" y="3819579"/>
              <a:ext cx="1588" cy="57150"/>
            </a:xfrm>
            <a:custGeom>
              <a:avLst/>
              <a:gdLst/>
              <a:ahLst/>
              <a:cxnLst/>
              <a:rect l="l" t="t" r="r" b="b"/>
              <a:pathLst>
                <a:path w="6" h="24" extrusionOk="0">
                  <a:moveTo>
                    <a:pt x="0" y="24"/>
                  </a:moveTo>
                  <a:lnTo>
                    <a:pt x="0" y="0"/>
                  </a:lnTo>
                  <a:lnTo>
                    <a:pt x="6" y="12"/>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27" name="Google Shape;627;p14"/>
            <p:cNvGrpSpPr/>
            <p:nvPr/>
          </p:nvGrpSpPr>
          <p:grpSpPr>
            <a:xfrm>
              <a:off x="7658508" y="3490967"/>
              <a:ext cx="163512" cy="114300"/>
              <a:chOff x="5379" y="2466"/>
              <a:chExt cx="122" cy="71"/>
            </a:xfrm>
          </p:grpSpPr>
          <p:sp>
            <p:nvSpPr>
              <p:cNvPr id="628" name="Google Shape;628;p14"/>
              <p:cNvSpPr/>
              <p:nvPr/>
            </p:nvSpPr>
            <p:spPr>
              <a:xfrm>
                <a:off x="5428" y="2492"/>
                <a:ext cx="6" cy="9"/>
              </a:xfrm>
              <a:custGeom>
                <a:avLst/>
                <a:gdLst/>
                <a:ahLst/>
                <a:cxnLst/>
                <a:rect l="l" t="t" r="r" b="b"/>
                <a:pathLst>
                  <a:path w="19" h="25" extrusionOk="0">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9" name="Google Shape;629;p14"/>
              <p:cNvSpPr/>
              <p:nvPr/>
            </p:nvSpPr>
            <p:spPr>
              <a:xfrm>
                <a:off x="5379" y="2505"/>
                <a:ext cx="7" cy="6"/>
              </a:xfrm>
              <a:custGeom>
                <a:avLst/>
                <a:gdLst/>
                <a:ahLst/>
                <a:cxnLst/>
                <a:rect l="l" t="t" r="r" b="b"/>
                <a:pathLst>
                  <a:path w="26" h="18" extrusionOk="0">
                    <a:moveTo>
                      <a:pt x="26" y="18"/>
                    </a:moveTo>
                    <a:lnTo>
                      <a:pt x="7" y="18"/>
                    </a:lnTo>
                    <a:lnTo>
                      <a:pt x="3" y="9"/>
                    </a:lnTo>
                    <a:lnTo>
                      <a:pt x="0" y="0"/>
                    </a:lnTo>
                    <a:lnTo>
                      <a:pt x="6" y="2"/>
                    </a:lnTo>
                    <a:lnTo>
                      <a:pt x="13" y="6"/>
                    </a:lnTo>
                    <a:lnTo>
                      <a:pt x="20" y="12"/>
                    </a:lnTo>
                    <a:lnTo>
                      <a:pt x="26"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0" name="Google Shape;630;p14"/>
              <p:cNvSpPr/>
              <p:nvPr/>
            </p:nvSpPr>
            <p:spPr>
              <a:xfrm>
                <a:off x="5392" y="2466"/>
                <a:ext cx="5" cy="6"/>
              </a:xfrm>
              <a:custGeom>
                <a:avLst/>
                <a:gdLst/>
                <a:ahLst/>
                <a:cxnLst/>
                <a:rect l="l" t="t" r="r" b="b"/>
                <a:pathLst>
                  <a:path w="13" h="18" extrusionOk="0">
                    <a:moveTo>
                      <a:pt x="0" y="18"/>
                    </a:moveTo>
                    <a:lnTo>
                      <a:pt x="13" y="0"/>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1" name="Google Shape;631;p14"/>
              <p:cNvSpPr/>
              <p:nvPr/>
            </p:nvSpPr>
            <p:spPr>
              <a:xfrm>
                <a:off x="5426" y="2468"/>
                <a:ext cx="8" cy="8"/>
              </a:xfrm>
              <a:custGeom>
                <a:avLst/>
                <a:gdLst/>
                <a:ahLst/>
                <a:cxnLst/>
                <a:rect l="l" t="t" r="r" b="b"/>
                <a:pathLst>
                  <a:path w="26" h="24" extrusionOk="0">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2" name="Google Shape;632;p14"/>
              <p:cNvSpPr/>
              <p:nvPr/>
            </p:nvSpPr>
            <p:spPr>
              <a:xfrm>
                <a:off x="5490" y="2490"/>
                <a:ext cx="11" cy="2"/>
              </a:xfrm>
              <a:custGeom>
                <a:avLst/>
                <a:gdLst/>
                <a:ahLst/>
                <a:cxnLst/>
                <a:rect l="l" t="t" r="r" b="b"/>
                <a:pathLst>
                  <a:path w="34" h="6" extrusionOk="0">
                    <a:moveTo>
                      <a:pt x="0" y="6"/>
                    </a:moveTo>
                    <a:lnTo>
                      <a:pt x="10" y="6"/>
                    </a:lnTo>
                    <a:lnTo>
                      <a:pt x="17" y="5"/>
                    </a:lnTo>
                    <a:lnTo>
                      <a:pt x="25" y="4"/>
                    </a:lnTo>
                    <a:lnTo>
                      <a:pt x="3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33" name="Google Shape;633;p14"/>
              <p:cNvCxnSpPr/>
              <p:nvPr/>
            </p:nvCxnSpPr>
            <p:spPr>
              <a:xfrm flipH="1">
                <a:off x="5495" y="2490"/>
                <a:ext cx="6" cy="1"/>
              </a:xfrm>
              <a:prstGeom prst="straightConnector1">
                <a:avLst/>
              </a:prstGeom>
              <a:noFill/>
              <a:ln w="9525" cap="flat" cmpd="sng">
                <a:solidFill>
                  <a:srgbClr val="FFFFFF"/>
                </a:solidFill>
                <a:prstDash val="solid"/>
                <a:round/>
                <a:headEnd type="none" w="med" len="med"/>
                <a:tailEnd type="none" w="med" len="med"/>
              </a:ln>
            </p:spPr>
          </p:cxnSp>
          <p:sp>
            <p:nvSpPr>
              <p:cNvPr id="634" name="Google Shape;634;p14"/>
              <p:cNvSpPr/>
              <p:nvPr/>
            </p:nvSpPr>
            <p:spPr>
              <a:xfrm>
                <a:off x="5464" y="2530"/>
                <a:ext cx="1" cy="7"/>
              </a:xfrm>
              <a:custGeom>
                <a:avLst/>
                <a:gdLst/>
                <a:ahLst/>
                <a:cxnLst/>
                <a:rect l="l" t="t" r="r" b="b"/>
                <a:pathLst>
                  <a:path w="1" h="19" extrusionOk="0">
                    <a:moveTo>
                      <a:pt x="0" y="19"/>
                    </a:moveTo>
                    <a:lnTo>
                      <a:pt x="0"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35" name="Google Shape;635;p14"/>
              <p:cNvCxnSpPr/>
              <p:nvPr/>
            </p:nvCxnSpPr>
            <p:spPr>
              <a:xfrm>
                <a:off x="5464" y="2530"/>
                <a:ext cx="6" cy="1"/>
              </a:xfrm>
              <a:prstGeom prst="straightConnector1">
                <a:avLst/>
              </a:prstGeom>
              <a:noFill/>
              <a:ln w="9525" cap="flat" cmpd="sng">
                <a:solidFill>
                  <a:srgbClr val="FFFFFF"/>
                </a:solidFill>
                <a:prstDash val="solid"/>
                <a:round/>
                <a:headEnd type="none" w="med" len="med"/>
                <a:tailEnd type="none" w="med" len="med"/>
              </a:ln>
            </p:spPr>
          </p:cxnSp>
          <p:sp>
            <p:nvSpPr>
              <p:cNvPr id="636" name="Google Shape;636;p14"/>
              <p:cNvSpPr/>
              <p:nvPr/>
            </p:nvSpPr>
            <p:spPr>
              <a:xfrm>
                <a:off x="5466" y="2530"/>
                <a:ext cx="4" cy="2"/>
              </a:xfrm>
              <a:custGeom>
                <a:avLst/>
                <a:gdLst/>
                <a:ahLst/>
                <a:cxnLst/>
                <a:rect l="l" t="t" r="r" b="b"/>
                <a:pathLst>
                  <a:path w="14" h="6" extrusionOk="0">
                    <a:moveTo>
                      <a:pt x="14" y="0"/>
                    </a:moveTo>
                    <a:lnTo>
                      <a:pt x="7" y="3"/>
                    </a:lnTo>
                    <a:lnTo>
                      <a:pt x="0"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637" name="Google Shape;637;p14"/>
            <p:cNvSpPr/>
            <p:nvPr/>
          </p:nvSpPr>
          <p:spPr>
            <a:xfrm>
              <a:off x="6242458" y="3352854"/>
              <a:ext cx="6350" cy="57150"/>
            </a:xfrm>
            <a:custGeom>
              <a:avLst/>
              <a:gdLst/>
              <a:ahLst/>
              <a:cxnLst/>
              <a:rect l="l" t="t" r="r" b="b"/>
              <a:pathLst>
                <a:path w="26" h="111" extrusionOk="0">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8" name="Google Shape;638;p14"/>
            <p:cNvSpPr/>
            <p:nvPr/>
          </p:nvSpPr>
          <p:spPr>
            <a:xfrm>
              <a:off x="3142070" y="5492804"/>
              <a:ext cx="53975" cy="58738"/>
            </a:xfrm>
            <a:custGeom>
              <a:avLst/>
              <a:gdLst/>
              <a:ahLst/>
              <a:cxnLst/>
              <a:rect l="l" t="t" r="r" b="b"/>
              <a:pathLst>
                <a:path w="126" h="62" extrusionOk="0">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9" name="Google Shape;639;p14"/>
            <p:cNvSpPr/>
            <p:nvPr/>
          </p:nvSpPr>
          <p:spPr>
            <a:xfrm>
              <a:off x="5443945" y="5330879"/>
              <a:ext cx="30163" cy="55563"/>
            </a:xfrm>
            <a:custGeom>
              <a:avLst/>
              <a:gdLst/>
              <a:ahLst/>
              <a:cxnLst/>
              <a:rect l="l" t="t" r="r" b="b"/>
              <a:pathLst>
                <a:path w="66" h="44" extrusionOk="0">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0" name="Google Shape;640;p14"/>
            <p:cNvSpPr/>
            <p:nvPr/>
          </p:nvSpPr>
          <p:spPr>
            <a:xfrm>
              <a:off x="7598183" y="2101904"/>
              <a:ext cx="20637" cy="57150"/>
            </a:xfrm>
            <a:custGeom>
              <a:avLst/>
              <a:gdLst/>
              <a:ahLst/>
              <a:cxnLst/>
              <a:rect l="l" t="t" r="r" b="b"/>
              <a:pathLst>
                <a:path w="46" h="16" extrusionOk="0">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1" name="Google Shape;641;p14"/>
            <p:cNvSpPr/>
            <p:nvPr/>
          </p:nvSpPr>
          <p:spPr>
            <a:xfrm>
              <a:off x="7774395" y="2135242"/>
              <a:ext cx="15875" cy="57150"/>
            </a:xfrm>
            <a:custGeom>
              <a:avLst/>
              <a:gdLst/>
              <a:ahLst/>
              <a:cxnLst/>
              <a:rect l="l" t="t" r="r" b="b"/>
              <a:pathLst>
                <a:path w="39" h="26" extrusionOk="0">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2" name="Google Shape;642;p14"/>
            <p:cNvSpPr/>
            <p:nvPr/>
          </p:nvSpPr>
          <p:spPr>
            <a:xfrm>
              <a:off x="7223533" y="2365429"/>
              <a:ext cx="4762" cy="58738"/>
            </a:xfrm>
            <a:custGeom>
              <a:avLst/>
              <a:gdLst/>
              <a:ahLst/>
              <a:cxnLst/>
              <a:rect l="l" t="t" r="r" b="b"/>
              <a:pathLst>
                <a:path w="11" h="25" extrusionOk="0">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3" name="Google Shape;643;p14"/>
            <p:cNvSpPr/>
            <p:nvPr/>
          </p:nvSpPr>
          <p:spPr>
            <a:xfrm>
              <a:off x="7037795" y="2927404"/>
              <a:ext cx="14288" cy="58738"/>
            </a:xfrm>
            <a:custGeom>
              <a:avLst/>
              <a:gdLst/>
              <a:ahLst/>
              <a:cxnLst/>
              <a:rect l="l" t="t" r="r" b="b"/>
              <a:pathLst>
                <a:path w="20" h="31" extrusionOk="0">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4" name="Google Shape;644;p14"/>
            <p:cNvSpPr/>
            <p:nvPr/>
          </p:nvSpPr>
          <p:spPr>
            <a:xfrm>
              <a:off x="7055258" y="2862317"/>
              <a:ext cx="15875" cy="57150"/>
            </a:xfrm>
            <a:custGeom>
              <a:avLst/>
              <a:gdLst/>
              <a:ahLst/>
              <a:cxnLst/>
              <a:rect l="l" t="t" r="r" b="b"/>
              <a:pathLst>
                <a:path w="26" h="37" extrusionOk="0">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5" name="Google Shape;645;p14"/>
            <p:cNvSpPr/>
            <p:nvPr/>
          </p:nvSpPr>
          <p:spPr>
            <a:xfrm>
              <a:off x="6944133" y="2711504"/>
              <a:ext cx="1587" cy="60325"/>
            </a:xfrm>
            <a:custGeom>
              <a:avLst/>
              <a:gdLst/>
              <a:ahLst/>
              <a:cxnLst/>
              <a:rect l="l" t="t" r="r" b="b"/>
              <a:pathLst>
                <a:path w="7" h="18" extrusionOk="0">
                  <a:moveTo>
                    <a:pt x="0" y="18"/>
                  </a:moveTo>
                  <a:lnTo>
                    <a:pt x="0" y="0"/>
                  </a:lnTo>
                  <a:lnTo>
                    <a:pt x="7" y="12"/>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6" name="Google Shape;646;p14"/>
            <p:cNvSpPr/>
            <p:nvPr/>
          </p:nvSpPr>
          <p:spPr>
            <a:xfrm>
              <a:off x="3796120" y="1838379"/>
              <a:ext cx="9525" cy="57150"/>
            </a:xfrm>
            <a:custGeom>
              <a:avLst/>
              <a:gdLst/>
              <a:ahLst/>
              <a:cxnLst/>
              <a:rect l="l" t="t" r="r" b="b"/>
              <a:pathLst>
                <a:path w="33" h="31" extrusionOk="0">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7" name="Google Shape;647;p14"/>
            <p:cNvSpPr/>
            <p:nvPr/>
          </p:nvSpPr>
          <p:spPr>
            <a:xfrm>
              <a:off x="3781833" y="1606604"/>
              <a:ext cx="3175" cy="57150"/>
            </a:xfrm>
            <a:custGeom>
              <a:avLst/>
              <a:gdLst/>
              <a:ahLst/>
              <a:cxnLst/>
              <a:rect l="l" t="t" r="r" b="b"/>
              <a:pathLst>
                <a:path w="14" h="6" extrusionOk="0">
                  <a:moveTo>
                    <a:pt x="14" y="0"/>
                  </a:moveTo>
                  <a:lnTo>
                    <a:pt x="0" y="6"/>
                  </a:lnTo>
                  <a:lnTo>
                    <a:pt x="1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8" name="Google Shape;648;p14"/>
            <p:cNvSpPr/>
            <p:nvPr/>
          </p:nvSpPr>
          <p:spPr>
            <a:xfrm>
              <a:off x="5262970" y="3384604"/>
              <a:ext cx="25400" cy="55563"/>
            </a:xfrm>
            <a:custGeom>
              <a:avLst/>
              <a:gdLst/>
              <a:ahLst/>
              <a:cxnLst/>
              <a:rect l="l" t="t" r="r" b="b"/>
              <a:pathLst>
                <a:path w="59" h="31" extrusionOk="0">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9" name="Google Shape;649;p14"/>
            <p:cNvSpPr/>
            <p:nvPr/>
          </p:nvSpPr>
          <p:spPr>
            <a:xfrm>
              <a:off x="4966108" y="3246492"/>
              <a:ext cx="19050" cy="58737"/>
            </a:xfrm>
            <a:custGeom>
              <a:avLst/>
              <a:gdLst/>
              <a:ahLst/>
              <a:cxnLst/>
              <a:rect l="l" t="t" r="r" b="b"/>
              <a:pathLst>
                <a:path w="47" h="68" extrusionOk="0">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50" name="Google Shape;650;p14"/>
            <p:cNvGrpSpPr/>
            <p:nvPr/>
          </p:nvGrpSpPr>
          <p:grpSpPr>
            <a:xfrm>
              <a:off x="5737633" y="3433817"/>
              <a:ext cx="46037" cy="374650"/>
              <a:chOff x="3950" y="2430"/>
              <a:chExt cx="36" cy="234"/>
            </a:xfrm>
          </p:grpSpPr>
          <p:sp>
            <p:nvSpPr>
              <p:cNvPr id="651" name="Google Shape;651;p14"/>
              <p:cNvSpPr/>
              <p:nvPr/>
            </p:nvSpPr>
            <p:spPr>
              <a:xfrm>
                <a:off x="3975" y="2658"/>
                <a:ext cx="6" cy="6"/>
              </a:xfrm>
              <a:custGeom>
                <a:avLst/>
                <a:gdLst/>
                <a:ahLst/>
                <a:cxnLst/>
                <a:rect l="l" t="t" r="r" b="b"/>
                <a:pathLst>
                  <a:path w="19" h="20" extrusionOk="0">
                    <a:moveTo>
                      <a:pt x="0" y="0"/>
                    </a:moveTo>
                    <a:lnTo>
                      <a:pt x="0" y="20"/>
                    </a:lnTo>
                    <a:lnTo>
                      <a:pt x="19" y="14"/>
                    </a:lnTo>
                    <a:lnTo>
                      <a:pt x="14" y="8"/>
                    </a:lnTo>
                    <a:lnTo>
                      <a:pt x="10" y="4"/>
                    </a:lnTo>
                    <a:lnTo>
                      <a:pt x="4"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2" name="Google Shape;652;p14"/>
              <p:cNvSpPr/>
              <p:nvPr/>
            </p:nvSpPr>
            <p:spPr>
              <a:xfrm>
                <a:off x="3975" y="2644"/>
                <a:ext cx="6" cy="4"/>
              </a:xfrm>
              <a:custGeom>
                <a:avLst/>
                <a:gdLst/>
                <a:ahLst/>
                <a:cxnLst/>
                <a:rect l="l" t="t" r="r" b="b"/>
                <a:pathLst>
                  <a:path w="19" h="12" extrusionOk="0">
                    <a:moveTo>
                      <a:pt x="13" y="12"/>
                    </a:moveTo>
                    <a:lnTo>
                      <a:pt x="19" y="0"/>
                    </a:ln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3" name="Google Shape;653;p14"/>
              <p:cNvSpPr/>
              <p:nvPr/>
            </p:nvSpPr>
            <p:spPr>
              <a:xfrm>
                <a:off x="3975" y="2637"/>
                <a:ext cx="6" cy="1"/>
              </a:xfrm>
              <a:custGeom>
                <a:avLst/>
                <a:gdLst/>
                <a:ahLst/>
                <a:cxnLst/>
                <a:rect l="l" t="t" r="r" b="b"/>
                <a:pathLst>
                  <a:path w="19" h="1" extrusionOk="0">
                    <a:moveTo>
                      <a:pt x="0" y="0"/>
                    </a:moveTo>
                    <a:lnTo>
                      <a:pt x="10" y="0"/>
                    </a:lnTo>
                    <a:lnTo>
                      <a:pt x="19" y="0"/>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4" name="Google Shape;654;p14"/>
              <p:cNvSpPr/>
              <p:nvPr/>
            </p:nvSpPr>
            <p:spPr>
              <a:xfrm>
                <a:off x="3975" y="2632"/>
                <a:ext cx="8" cy="2"/>
              </a:xfrm>
              <a:prstGeom prst="rect">
                <a:avLst/>
              </a:prstGeom>
              <a:solidFill>
                <a:srgbClr val="C0C0C0"/>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55" name="Google Shape;655;p14"/>
              <p:cNvCxnSpPr/>
              <p:nvPr/>
            </p:nvCxnSpPr>
            <p:spPr>
              <a:xfrm rot="10800000" flipH="1">
                <a:off x="3972" y="2595"/>
                <a:ext cx="5" cy="4"/>
              </a:xfrm>
              <a:prstGeom prst="straightConnector1">
                <a:avLst/>
              </a:prstGeom>
              <a:noFill/>
              <a:ln w="9525" cap="flat" cmpd="sng">
                <a:solidFill>
                  <a:srgbClr val="FFFFFF"/>
                </a:solidFill>
                <a:prstDash val="solid"/>
                <a:round/>
                <a:headEnd type="none" w="med" len="med"/>
                <a:tailEnd type="none" w="med" len="med"/>
              </a:ln>
            </p:spPr>
          </p:cxnSp>
          <p:sp>
            <p:nvSpPr>
              <p:cNvPr id="656" name="Google Shape;656;p14"/>
              <p:cNvSpPr/>
              <p:nvPr/>
            </p:nvSpPr>
            <p:spPr>
              <a:xfrm>
                <a:off x="3975" y="2595"/>
                <a:ext cx="2" cy="1"/>
              </a:xfrm>
              <a:custGeom>
                <a:avLst/>
                <a:gdLst/>
                <a:ahLst/>
                <a:cxnLst/>
                <a:rect l="l" t="t" r="r" b="b"/>
                <a:pathLst>
                  <a:path w="6" h="3" extrusionOk="0">
                    <a:moveTo>
                      <a:pt x="6" y="0"/>
                    </a:moveTo>
                    <a:lnTo>
                      <a:pt x="5" y="1"/>
                    </a:lnTo>
                    <a:lnTo>
                      <a:pt x="3" y="2"/>
                    </a:lnTo>
                    <a:lnTo>
                      <a:pt x="1" y="3"/>
                    </a:lnTo>
                    <a:lnTo>
                      <a:pt x="0" y="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7" name="Google Shape;657;p14"/>
              <p:cNvSpPr/>
              <p:nvPr/>
            </p:nvSpPr>
            <p:spPr>
              <a:xfrm>
                <a:off x="3981" y="2555"/>
                <a:ext cx="5" cy="8"/>
              </a:xfrm>
              <a:custGeom>
                <a:avLst/>
                <a:gdLst/>
                <a:ahLst/>
                <a:cxnLst/>
                <a:rect l="l" t="t" r="r" b="b"/>
                <a:pathLst>
                  <a:path w="14" h="24" extrusionOk="0">
                    <a:moveTo>
                      <a:pt x="14" y="0"/>
                    </a:moveTo>
                    <a:lnTo>
                      <a:pt x="13" y="5"/>
                    </a:lnTo>
                    <a:lnTo>
                      <a:pt x="9" y="12"/>
                    </a:lnTo>
                    <a:lnTo>
                      <a:pt x="5" y="19"/>
                    </a:lnTo>
                    <a:lnTo>
                      <a:pt x="0" y="24"/>
                    </a:lnTo>
                    <a:lnTo>
                      <a:pt x="0" y="1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58" name="Google Shape;658;p14"/>
              <p:cNvCxnSpPr/>
              <p:nvPr/>
            </p:nvCxnSpPr>
            <p:spPr>
              <a:xfrm>
                <a:off x="3981" y="2559"/>
                <a:ext cx="2" cy="1"/>
              </a:xfrm>
              <a:prstGeom prst="straightConnector1">
                <a:avLst/>
              </a:prstGeom>
              <a:noFill/>
              <a:ln w="9525" cap="flat" cmpd="sng">
                <a:solidFill>
                  <a:srgbClr val="FFFFFF"/>
                </a:solidFill>
                <a:prstDash val="solid"/>
                <a:round/>
                <a:headEnd type="none" w="med" len="med"/>
                <a:tailEnd type="none" w="med" len="med"/>
              </a:ln>
            </p:spPr>
          </p:cxnSp>
          <p:sp>
            <p:nvSpPr>
              <p:cNvPr id="659" name="Google Shape;659;p14"/>
              <p:cNvSpPr/>
              <p:nvPr/>
            </p:nvSpPr>
            <p:spPr>
              <a:xfrm>
                <a:off x="3977" y="2572"/>
                <a:ext cx="4" cy="3"/>
              </a:xfrm>
              <a:custGeom>
                <a:avLst/>
                <a:gdLst/>
                <a:ahLst/>
                <a:cxnLst/>
                <a:rect l="l" t="t" r="r" b="b"/>
                <a:pathLst>
                  <a:path w="13" h="12" extrusionOk="0">
                    <a:moveTo>
                      <a:pt x="13" y="12"/>
                    </a:move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0" name="Google Shape;660;p14"/>
              <p:cNvSpPr/>
              <p:nvPr/>
            </p:nvSpPr>
            <p:spPr>
              <a:xfrm>
                <a:off x="3981" y="2585"/>
                <a:ext cx="2" cy="6"/>
              </a:xfrm>
              <a:custGeom>
                <a:avLst/>
                <a:gdLst/>
                <a:ahLst/>
                <a:cxnLst/>
                <a:rect l="l" t="t" r="r" b="b"/>
                <a:pathLst>
                  <a:path w="7" h="19" extrusionOk="0">
                    <a:moveTo>
                      <a:pt x="0" y="0"/>
                    </a:moveTo>
                    <a:lnTo>
                      <a:pt x="0" y="19"/>
                    </a:lnTo>
                    <a:lnTo>
                      <a:pt x="0" y="0"/>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61" name="Google Shape;661;p14"/>
              <p:cNvCxnSpPr/>
              <p:nvPr/>
            </p:nvCxnSpPr>
            <p:spPr>
              <a:xfrm rot="10800000" flipH="1">
                <a:off x="3981" y="2599"/>
                <a:ext cx="1" cy="4"/>
              </a:xfrm>
              <a:prstGeom prst="straightConnector1">
                <a:avLst/>
              </a:prstGeom>
              <a:noFill/>
              <a:ln w="9525" cap="flat" cmpd="sng">
                <a:solidFill>
                  <a:srgbClr val="FFFFFF"/>
                </a:solidFill>
                <a:prstDash val="solid"/>
                <a:round/>
                <a:headEnd type="none" w="med" len="med"/>
                <a:tailEnd type="none" w="med" len="med"/>
              </a:ln>
            </p:spPr>
          </p:cxnSp>
          <p:sp>
            <p:nvSpPr>
              <p:cNvPr id="662" name="Google Shape;662;p14"/>
              <p:cNvSpPr/>
              <p:nvPr/>
            </p:nvSpPr>
            <p:spPr>
              <a:xfrm>
                <a:off x="3970" y="2545"/>
                <a:ext cx="2" cy="6"/>
              </a:xfrm>
              <a:custGeom>
                <a:avLst/>
                <a:gdLst/>
                <a:ahLst/>
                <a:cxnLst/>
                <a:rect l="l" t="t" r="r" b="b"/>
                <a:pathLst>
                  <a:path w="8" h="18" extrusionOk="0">
                    <a:moveTo>
                      <a:pt x="0" y="18"/>
                    </a:moveTo>
                    <a:lnTo>
                      <a:pt x="8" y="6"/>
                    </a:lnTo>
                    <a:lnTo>
                      <a:pt x="0" y="0"/>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3" name="Google Shape;663;p14"/>
              <p:cNvSpPr/>
              <p:nvPr/>
            </p:nvSpPr>
            <p:spPr>
              <a:xfrm>
                <a:off x="3968" y="2532"/>
                <a:ext cx="2" cy="7"/>
              </a:xfrm>
              <a:custGeom>
                <a:avLst/>
                <a:gdLst/>
                <a:ahLst/>
                <a:cxnLst/>
                <a:rect l="l" t="t" r="r" b="b"/>
                <a:pathLst>
                  <a:path w="6" h="19" extrusionOk="0">
                    <a:moveTo>
                      <a:pt x="0" y="0"/>
                    </a:moveTo>
                    <a:lnTo>
                      <a:pt x="0" y="19"/>
                    </a:lnTo>
                    <a:lnTo>
                      <a:pt x="6"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4" name="Google Shape;664;p14"/>
              <p:cNvSpPr/>
              <p:nvPr/>
            </p:nvSpPr>
            <p:spPr>
              <a:xfrm>
                <a:off x="3965" y="2513"/>
                <a:ext cx="10" cy="5"/>
              </a:xfrm>
              <a:custGeom>
                <a:avLst/>
                <a:gdLst/>
                <a:ahLst/>
                <a:cxnLst/>
                <a:rect l="l" t="t" r="r" b="b"/>
                <a:pathLst>
                  <a:path w="28" h="19" extrusionOk="0">
                    <a:moveTo>
                      <a:pt x="0" y="0"/>
                    </a:moveTo>
                    <a:lnTo>
                      <a:pt x="0" y="19"/>
                    </a:lnTo>
                    <a:lnTo>
                      <a:pt x="28"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5" name="Google Shape;665;p14"/>
              <p:cNvSpPr/>
              <p:nvPr/>
            </p:nvSpPr>
            <p:spPr>
              <a:xfrm>
                <a:off x="3970" y="2513"/>
                <a:ext cx="5" cy="5"/>
              </a:xfrm>
              <a:custGeom>
                <a:avLst/>
                <a:gdLst/>
                <a:ahLst/>
                <a:cxnLst/>
                <a:rect l="l" t="t" r="r" b="b"/>
                <a:pathLst>
                  <a:path w="15" h="19" extrusionOk="0">
                    <a:moveTo>
                      <a:pt x="15" y="19"/>
                    </a:moveTo>
                    <a:lnTo>
                      <a:pt x="8"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6" name="Google Shape;666;p14"/>
              <p:cNvSpPr/>
              <p:nvPr/>
            </p:nvSpPr>
            <p:spPr>
              <a:xfrm>
                <a:off x="3975" y="2658"/>
                <a:ext cx="6" cy="6"/>
              </a:xfrm>
              <a:custGeom>
                <a:avLst/>
                <a:gdLst/>
                <a:ahLst/>
                <a:cxnLst/>
                <a:rect l="l" t="t" r="r" b="b"/>
                <a:pathLst>
                  <a:path w="19" h="20" extrusionOk="0">
                    <a:moveTo>
                      <a:pt x="0" y="0"/>
                    </a:moveTo>
                    <a:lnTo>
                      <a:pt x="0" y="20"/>
                    </a:lnTo>
                    <a:lnTo>
                      <a:pt x="19" y="14"/>
                    </a:lnTo>
                    <a:lnTo>
                      <a:pt x="14" y="8"/>
                    </a:lnTo>
                    <a:lnTo>
                      <a:pt x="10" y="4"/>
                    </a:lnTo>
                    <a:lnTo>
                      <a:pt x="4"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7" name="Google Shape;667;p14"/>
              <p:cNvSpPr/>
              <p:nvPr/>
            </p:nvSpPr>
            <p:spPr>
              <a:xfrm>
                <a:off x="3975" y="2644"/>
                <a:ext cx="6" cy="4"/>
              </a:xfrm>
              <a:custGeom>
                <a:avLst/>
                <a:gdLst/>
                <a:ahLst/>
                <a:cxnLst/>
                <a:rect l="l" t="t" r="r" b="b"/>
                <a:pathLst>
                  <a:path w="19" h="12" extrusionOk="0">
                    <a:moveTo>
                      <a:pt x="13" y="12"/>
                    </a:moveTo>
                    <a:lnTo>
                      <a:pt x="19" y="0"/>
                    </a:ln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8" name="Google Shape;668;p14"/>
              <p:cNvSpPr/>
              <p:nvPr/>
            </p:nvSpPr>
            <p:spPr>
              <a:xfrm>
                <a:off x="3975" y="2637"/>
                <a:ext cx="6" cy="1"/>
              </a:xfrm>
              <a:custGeom>
                <a:avLst/>
                <a:gdLst/>
                <a:ahLst/>
                <a:cxnLst/>
                <a:rect l="l" t="t" r="r" b="b"/>
                <a:pathLst>
                  <a:path w="19" h="1" extrusionOk="0">
                    <a:moveTo>
                      <a:pt x="0" y="0"/>
                    </a:moveTo>
                    <a:lnTo>
                      <a:pt x="10" y="0"/>
                    </a:lnTo>
                    <a:lnTo>
                      <a:pt x="19" y="0"/>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9" name="Google Shape;669;p14"/>
              <p:cNvSpPr/>
              <p:nvPr/>
            </p:nvSpPr>
            <p:spPr>
              <a:xfrm>
                <a:off x="3975" y="2632"/>
                <a:ext cx="8" cy="2"/>
              </a:xfrm>
              <a:prstGeom prst="rect">
                <a:avLst/>
              </a:prstGeom>
              <a:solidFill>
                <a:srgbClr val="C0C0C0"/>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70" name="Google Shape;670;p14"/>
              <p:cNvCxnSpPr/>
              <p:nvPr/>
            </p:nvCxnSpPr>
            <p:spPr>
              <a:xfrm rot="10800000" flipH="1">
                <a:off x="3972" y="2595"/>
                <a:ext cx="5" cy="4"/>
              </a:xfrm>
              <a:prstGeom prst="straightConnector1">
                <a:avLst/>
              </a:prstGeom>
              <a:noFill/>
              <a:ln w="9525" cap="flat" cmpd="sng">
                <a:solidFill>
                  <a:srgbClr val="FFFFFF"/>
                </a:solidFill>
                <a:prstDash val="solid"/>
                <a:round/>
                <a:headEnd type="none" w="med" len="med"/>
                <a:tailEnd type="none" w="med" len="med"/>
              </a:ln>
            </p:spPr>
          </p:cxnSp>
          <p:sp>
            <p:nvSpPr>
              <p:cNvPr id="671" name="Google Shape;671;p14"/>
              <p:cNvSpPr/>
              <p:nvPr/>
            </p:nvSpPr>
            <p:spPr>
              <a:xfrm>
                <a:off x="3975" y="2595"/>
                <a:ext cx="2" cy="1"/>
              </a:xfrm>
              <a:custGeom>
                <a:avLst/>
                <a:gdLst/>
                <a:ahLst/>
                <a:cxnLst/>
                <a:rect l="l" t="t" r="r" b="b"/>
                <a:pathLst>
                  <a:path w="6" h="3" extrusionOk="0">
                    <a:moveTo>
                      <a:pt x="6" y="0"/>
                    </a:moveTo>
                    <a:lnTo>
                      <a:pt x="5" y="1"/>
                    </a:lnTo>
                    <a:lnTo>
                      <a:pt x="3" y="2"/>
                    </a:lnTo>
                    <a:lnTo>
                      <a:pt x="1" y="3"/>
                    </a:lnTo>
                    <a:lnTo>
                      <a:pt x="0" y="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2" name="Google Shape;672;p14"/>
              <p:cNvSpPr/>
              <p:nvPr/>
            </p:nvSpPr>
            <p:spPr>
              <a:xfrm>
                <a:off x="3981" y="2555"/>
                <a:ext cx="5" cy="8"/>
              </a:xfrm>
              <a:custGeom>
                <a:avLst/>
                <a:gdLst/>
                <a:ahLst/>
                <a:cxnLst/>
                <a:rect l="l" t="t" r="r" b="b"/>
                <a:pathLst>
                  <a:path w="14" h="24" extrusionOk="0">
                    <a:moveTo>
                      <a:pt x="14" y="0"/>
                    </a:moveTo>
                    <a:lnTo>
                      <a:pt x="13" y="5"/>
                    </a:lnTo>
                    <a:lnTo>
                      <a:pt x="9" y="12"/>
                    </a:lnTo>
                    <a:lnTo>
                      <a:pt x="5" y="19"/>
                    </a:lnTo>
                    <a:lnTo>
                      <a:pt x="0" y="24"/>
                    </a:lnTo>
                    <a:lnTo>
                      <a:pt x="0" y="1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73" name="Google Shape;673;p14"/>
              <p:cNvCxnSpPr/>
              <p:nvPr/>
            </p:nvCxnSpPr>
            <p:spPr>
              <a:xfrm>
                <a:off x="3981" y="2559"/>
                <a:ext cx="2" cy="1"/>
              </a:xfrm>
              <a:prstGeom prst="straightConnector1">
                <a:avLst/>
              </a:prstGeom>
              <a:noFill/>
              <a:ln w="9525" cap="flat" cmpd="sng">
                <a:solidFill>
                  <a:srgbClr val="FFFFFF"/>
                </a:solidFill>
                <a:prstDash val="solid"/>
                <a:round/>
                <a:headEnd type="none" w="med" len="med"/>
                <a:tailEnd type="none" w="med" len="med"/>
              </a:ln>
            </p:spPr>
          </p:cxnSp>
          <p:sp>
            <p:nvSpPr>
              <p:cNvPr id="674" name="Google Shape;674;p14"/>
              <p:cNvSpPr/>
              <p:nvPr/>
            </p:nvSpPr>
            <p:spPr>
              <a:xfrm>
                <a:off x="3977" y="2572"/>
                <a:ext cx="4" cy="3"/>
              </a:xfrm>
              <a:custGeom>
                <a:avLst/>
                <a:gdLst/>
                <a:ahLst/>
                <a:cxnLst/>
                <a:rect l="l" t="t" r="r" b="b"/>
                <a:pathLst>
                  <a:path w="13" h="12" extrusionOk="0">
                    <a:moveTo>
                      <a:pt x="13" y="12"/>
                    </a:move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5" name="Google Shape;675;p14"/>
              <p:cNvSpPr/>
              <p:nvPr/>
            </p:nvSpPr>
            <p:spPr>
              <a:xfrm>
                <a:off x="3981" y="2585"/>
                <a:ext cx="2" cy="6"/>
              </a:xfrm>
              <a:custGeom>
                <a:avLst/>
                <a:gdLst/>
                <a:ahLst/>
                <a:cxnLst/>
                <a:rect l="l" t="t" r="r" b="b"/>
                <a:pathLst>
                  <a:path w="7" h="19" extrusionOk="0">
                    <a:moveTo>
                      <a:pt x="0" y="0"/>
                    </a:moveTo>
                    <a:lnTo>
                      <a:pt x="0" y="19"/>
                    </a:lnTo>
                    <a:lnTo>
                      <a:pt x="0" y="0"/>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76" name="Google Shape;676;p14"/>
              <p:cNvCxnSpPr/>
              <p:nvPr/>
            </p:nvCxnSpPr>
            <p:spPr>
              <a:xfrm rot="10800000" flipH="1">
                <a:off x="3981" y="2599"/>
                <a:ext cx="1" cy="4"/>
              </a:xfrm>
              <a:prstGeom prst="straightConnector1">
                <a:avLst/>
              </a:prstGeom>
              <a:noFill/>
              <a:ln w="9525" cap="flat" cmpd="sng">
                <a:solidFill>
                  <a:srgbClr val="FFFFFF"/>
                </a:solidFill>
                <a:prstDash val="solid"/>
                <a:round/>
                <a:headEnd type="none" w="med" len="med"/>
                <a:tailEnd type="none" w="med" len="med"/>
              </a:ln>
            </p:spPr>
          </p:cxnSp>
          <p:sp>
            <p:nvSpPr>
              <p:cNvPr id="677" name="Google Shape;677;p14"/>
              <p:cNvSpPr/>
              <p:nvPr/>
            </p:nvSpPr>
            <p:spPr>
              <a:xfrm>
                <a:off x="3970" y="2545"/>
                <a:ext cx="2" cy="6"/>
              </a:xfrm>
              <a:custGeom>
                <a:avLst/>
                <a:gdLst/>
                <a:ahLst/>
                <a:cxnLst/>
                <a:rect l="l" t="t" r="r" b="b"/>
                <a:pathLst>
                  <a:path w="8" h="18" extrusionOk="0">
                    <a:moveTo>
                      <a:pt x="0" y="18"/>
                    </a:moveTo>
                    <a:lnTo>
                      <a:pt x="8" y="6"/>
                    </a:lnTo>
                    <a:lnTo>
                      <a:pt x="0" y="0"/>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8" name="Google Shape;678;p14"/>
              <p:cNvSpPr/>
              <p:nvPr/>
            </p:nvSpPr>
            <p:spPr>
              <a:xfrm>
                <a:off x="3968" y="2532"/>
                <a:ext cx="2" cy="7"/>
              </a:xfrm>
              <a:custGeom>
                <a:avLst/>
                <a:gdLst/>
                <a:ahLst/>
                <a:cxnLst/>
                <a:rect l="l" t="t" r="r" b="b"/>
                <a:pathLst>
                  <a:path w="6" h="19" extrusionOk="0">
                    <a:moveTo>
                      <a:pt x="0" y="0"/>
                    </a:moveTo>
                    <a:lnTo>
                      <a:pt x="0" y="19"/>
                    </a:lnTo>
                    <a:lnTo>
                      <a:pt x="6"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9" name="Google Shape;679;p14"/>
              <p:cNvSpPr/>
              <p:nvPr/>
            </p:nvSpPr>
            <p:spPr>
              <a:xfrm>
                <a:off x="3965" y="2513"/>
                <a:ext cx="10" cy="5"/>
              </a:xfrm>
              <a:custGeom>
                <a:avLst/>
                <a:gdLst/>
                <a:ahLst/>
                <a:cxnLst/>
                <a:rect l="l" t="t" r="r" b="b"/>
                <a:pathLst>
                  <a:path w="28" h="19" extrusionOk="0">
                    <a:moveTo>
                      <a:pt x="0" y="0"/>
                    </a:moveTo>
                    <a:lnTo>
                      <a:pt x="0" y="19"/>
                    </a:lnTo>
                    <a:lnTo>
                      <a:pt x="28"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0" name="Google Shape;680;p14"/>
              <p:cNvSpPr/>
              <p:nvPr/>
            </p:nvSpPr>
            <p:spPr>
              <a:xfrm>
                <a:off x="3970" y="2513"/>
                <a:ext cx="5" cy="5"/>
              </a:xfrm>
              <a:custGeom>
                <a:avLst/>
                <a:gdLst/>
                <a:ahLst/>
                <a:cxnLst/>
                <a:rect l="l" t="t" r="r" b="b"/>
                <a:pathLst>
                  <a:path w="15" h="19" extrusionOk="0">
                    <a:moveTo>
                      <a:pt x="15" y="19"/>
                    </a:moveTo>
                    <a:lnTo>
                      <a:pt x="8"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1" name="Google Shape;681;p14"/>
              <p:cNvSpPr/>
              <p:nvPr/>
            </p:nvSpPr>
            <p:spPr>
              <a:xfrm>
                <a:off x="3950" y="2430"/>
                <a:ext cx="7" cy="6"/>
              </a:xfrm>
              <a:custGeom>
                <a:avLst/>
                <a:gdLst/>
                <a:ahLst/>
                <a:cxnLst/>
                <a:rect l="l" t="t" r="r" b="b"/>
                <a:pathLst>
                  <a:path w="20" h="18" extrusionOk="0">
                    <a:moveTo>
                      <a:pt x="13" y="18"/>
                    </a:moveTo>
                    <a:lnTo>
                      <a:pt x="20" y="0"/>
                    </a:lnTo>
                    <a:lnTo>
                      <a:pt x="0" y="0"/>
                    </a:lnTo>
                    <a:lnTo>
                      <a:pt x="13"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grpSp>
          <p:nvGrpSpPr>
            <p:cNvPr id="682" name="Google Shape;682;p14"/>
            <p:cNvGrpSpPr/>
            <p:nvPr/>
          </p:nvGrpSpPr>
          <p:grpSpPr>
            <a:xfrm>
              <a:off x="7802970" y="3933879"/>
              <a:ext cx="185738" cy="214313"/>
              <a:chOff x="5486" y="2743"/>
              <a:chExt cx="137" cy="132"/>
            </a:xfrm>
          </p:grpSpPr>
          <p:sp>
            <p:nvSpPr>
              <p:cNvPr id="683" name="Google Shape;683;p14"/>
              <p:cNvSpPr/>
              <p:nvPr/>
            </p:nvSpPr>
            <p:spPr>
              <a:xfrm>
                <a:off x="5595" y="2806"/>
                <a:ext cx="13" cy="28"/>
              </a:xfrm>
              <a:custGeom>
                <a:avLst/>
                <a:gdLst/>
                <a:ahLst/>
                <a:cxnLst/>
                <a:rect l="l" t="t" r="r" b="b"/>
                <a:pathLst>
                  <a:path w="40" h="87" extrusionOk="0">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4" name="Google Shape;684;p14"/>
              <p:cNvSpPr/>
              <p:nvPr/>
            </p:nvSpPr>
            <p:spPr>
              <a:xfrm>
                <a:off x="5603" y="2842"/>
                <a:ext cx="20" cy="12"/>
              </a:xfrm>
              <a:custGeom>
                <a:avLst/>
                <a:gdLst/>
                <a:ahLst/>
                <a:cxnLst/>
                <a:rect l="l" t="t" r="r" b="b"/>
                <a:pathLst>
                  <a:path w="61" h="37" extrusionOk="0">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5" name="Google Shape;685;p14"/>
              <p:cNvSpPr/>
              <p:nvPr/>
            </p:nvSpPr>
            <p:spPr>
              <a:xfrm>
                <a:off x="5568" y="2865"/>
                <a:ext cx="13" cy="10"/>
              </a:xfrm>
              <a:custGeom>
                <a:avLst/>
                <a:gdLst/>
                <a:ahLst/>
                <a:cxnLst/>
                <a:rect l="l" t="t" r="r" b="b"/>
                <a:pathLst>
                  <a:path w="40" h="30" extrusionOk="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6" name="Google Shape;686;p14"/>
              <p:cNvSpPr/>
              <p:nvPr/>
            </p:nvSpPr>
            <p:spPr>
              <a:xfrm>
                <a:off x="5515" y="2789"/>
                <a:ext cx="24" cy="26"/>
              </a:xfrm>
              <a:custGeom>
                <a:avLst/>
                <a:gdLst/>
                <a:ahLst/>
                <a:cxnLst/>
                <a:rect l="l" t="t" r="r" b="b"/>
                <a:pathLst>
                  <a:path w="74" h="80" extrusionOk="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7" name="Google Shape;687;p14"/>
              <p:cNvSpPr/>
              <p:nvPr/>
            </p:nvSpPr>
            <p:spPr>
              <a:xfrm>
                <a:off x="5555" y="2785"/>
                <a:ext cx="26" cy="27"/>
              </a:xfrm>
              <a:custGeom>
                <a:avLst/>
                <a:gdLst/>
                <a:ahLst/>
                <a:cxnLst/>
                <a:rect l="l" t="t" r="r" b="b"/>
                <a:pathLst>
                  <a:path w="86" h="80" extrusionOk="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8" name="Google Shape;688;p14"/>
              <p:cNvSpPr/>
              <p:nvPr/>
            </p:nvSpPr>
            <p:spPr>
              <a:xfrm>
                <a:off x="5570" y="2825"/>
                <a:ext cx="25" cy="11"/>
              </a:xfrm>
              <a:custGeom>
                <a:avLst/>
                <a:gdLst/>
                <a:ahLst/>
                <a:cxnLst/>
                <a:rect l="l" t="t" r="r" b="b"/>
                <a:pathLst>
                  <a:path w="74" h="31" extrusionOk="0">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9" name="Google Shape;689;p14"/>
              <p:cNvSpPr/>
              <p:nvPr/>
            </p:nvSpPr>
            <p:spPr>
              <a:xfrm>
                <a:off x="5562" y="2819"/>
                <a:ext cx="6" cy="1"/>
              </a:xfrm>
              <a:custGeom>
                <a:avLst/>
                <a:gdLst/>
                <a:ahLst/>
                <a:cxnLst/>
                <a:rect l="l" t="t" r="r" b="b"/>
                <a:pathLst>
                  <a:path w="20" h="1" extrusionOk="0">
                    <a:moveTo>
                      <a:pt x="20" y="0"/>
                    </a:moveTo>
                    <a:lnTo>
                      <a:pt x="0" y="0"/>
                    </a:lnTo>
                    <a:lnTo>
                      <a:pt x="10" y="0"/>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0" name="Google Shape;690;p14"/>
              <p:cNvSpPr/>
              <p:nvPr/>
            </p:nvSpPr>
            <p:spPr>
              <a:xfrm>
                <a:off x="5509" y="2769"/>
                <a:ext cx="32" cy="21"/>
              </a:xfrm>
              <a:custGeom>
                <a:avLst/>
                <a:gdLst/>
                <a:ahLst/>
                <a:cxnLst/>
                <a:rect l="l" t="t" r="r" b="b"/>
                <a:pathLst>
                  <a:path w="100" h="65" extrusionOk="0">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1" name="Google Shape;691;p14"/>
              <p:cNvSpPr/>
              <p:nvPr/>
            </p:nvSpPr>
            <p:spPr>
              <a:xfrm>
                <a:off x="5486" y="2743"/>
                <a:ext cx="24" cy="34"/>
              </a:xfrm>
              <a:custGeom>
                <a:avLst/>
                <a:gdLst/>
                <a:ahLst/>
                <a:cxnLst/>
                <a:rect l="l" t="t" r="r" b="b"/>
                <a:pathLst>
                  <a:path w="79" h="104" extrusionOk="0">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692" name="Google Shape;692;p14"/>
            <p:cNvSpPr/>
            <p:nvPr/>
          </p:nvSpPr>
          <p:spPr>
            <a:xfrm>
              <a:off x="4148545" y="3671942"/>
              <a:ext cx="11113" cy="55562"/>
            </a:xfrm>
            <a:custGeom>
              <a:avLst/>
              <a:gdLst/>
              <a:ahLst/>
              <a:cxnLst/>
              <a:rect l="l" t="t" r="r" b="b"/>
              <a:pathLst>
                <a:path w="27" h="19" extrusionOk="0">
                  <a:moveTo>
                    <a:pt x="27" y="0"/>
                  </a:moveTo>
                  <a:lnTo>
                    <a:pt x="27" y="12"/>
                  </a:lnTo>
                  <a:lnTo>
                    <a:pt x="27" y="19"/>
                  </a:lnTo>
                  <a:lnTo>
                    <a:pt x="9" y="19"/>
                  </a:lnTo>
                  <a:lnTo>
                    <a:pt x="0" y="19"/>
                  </a:lnTo>
                  <a:lnTo>
                    <a:pt x="9" y="12"/>
                  </a:lnTo>
                  <a:lnTo>
                    <a:pt x="2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3" name="Google Shape;693;p14"/>
            <p:cNvSpPr/>
            <p:nvPr/>
          </p:nvSpPr>
          <p:spPr>
            <a:xfrm>
              <a:off x="4072345" y="3811642"/>
              <a:ext cx="14288" cy="57150"/>
            </a:xfrm>
            <a:custGeom>
              <a:avLst/>
              <a:gdLst/>
              <a:ahLst/>
              <a:cxnLst/>
              <a:rect l="l" t="t" r="r" b="b"/>
              <a:pathLst>
                <a:path w="39" h="35" extrusionOk="0">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4" name="Google Shape;694;p14"/>
            <p:cNvSpPr/>
            <p:nvPr/>
          </p:nvSpPr>
          <p:spPr>
            <a:xfrm>
              <a:off x="5870983" y="2138417"/>
              <a:ext cx="728662" cy="331787"/>
            </a:xfrm>
            <a:custGeom>
              <a:avLst/>
              <a:gdLst/>
              <a:ahLst/>
              <a:cxnLst/>
              <a:rect l="l" t="t" r="r" b="b"/>
              <a:pathLst>
                <a:path w="1688" h="630" extrusionOk="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5" name="Google Shape;695;p14"/>
            <p:cNvSpPr/>
            <p:nvPr/>
          </p:nvSpPr>
          <p:spPr>
            <a:xfrm>
              <a:off x="2197508" y="4105329"/>
              <a:ext cx="328612" cy="415925"/>
            </a:xfrm>
            <a:custGeom>
              <a:avLst/>
              <a:gdLst/>
              <a:ahLst/>
              <a:cxnLst/>
              <a:rect l="l" t="t" r="r" b="b"/>
              <a:pathLst>
                <a:path w="758" h="795" extrusionOk="0">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6" name="Google Shape;696;p14"/>
            <p:cNvSpPr/>
            <p:nvPr/>
          </p:nvSpPr>
          <p:spPr>
            <a:xfrm>
              <a:off x="2411820" y="3535417"/>
              <a:ext cx="119063" cy="215900"/>
            </a:xfrm>
            <a:custGeom>
              <a:avLst/>
              <a:gdLst/>
              <a:ahLst/>
              <a:cxnLst/>
              <a:rect l="l" t="t" r="r" b="b"/>
              <a:pathLst>
                <a:path w="273" h="414" extrusionOk="0">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97" name="Google Shape;697;p14"/>
            <p:cNvGrpSpPr/>
            <p:nvPr/>
          </p:nvGrpSpPr>
          <p:grpSpPr>
            <a:xfrm>
              <a:off x="2126070" y="3370317"/>
              <a:ext cx="323850" cy="401637"/>
              <a:chOff x="1486" y="2412"/>
              <a:chExt cx="244" cy="256"/>
            </a:xfrm>
          </p:grpSpPr>
          <p:sp>
            <p:nvSpPr>
              <p:cNvPr id="698" name="Google Shape;698;p14"/>
              <p:cNvSpPr/>
              <p:nvPr/>
            </p:nvSpPr>
            <p:spPr>
              <a:xfrm>
                <a:off x="1639" y="2457"/>
                <a:ext cx="18" cy="7"/>
              </a:xfrm>
              <a:custGeom>
                <a:avLst/>
                <a:gdLst/>
                <a:ahLst/>
                <a:cxnLst/>
                <a:rect l="l" t="t" r="r" b="b"/>
                <a:pathLst>
                  <a:path w="54" h="22" extrusionOk="0">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9" name="Google Shape;699;p14"/>
              <p:cNvSpPr/>
              <p:nvPr/>
            </p:nvSpPr>
            <p:spPr>
              <a:xfrm>
                <a:off x="1526" y="2412"/>
                <a:ext cx="2" cy="8"/>
              </a:xfrm>
              <a:custGeom>
                <a:avLst/>
                <a:gdLst/>
                <a:ahLst/>
                <a:cxnLst/>
                <a:rect l="l" t="t" r="r" b="b"/>
                <a:pathLst>
                  <a:path w="6" h="24" extrusionOk="0">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0" name="Google Shape;700;p14"/>
              <p:cNvSpPr/>
              <p:nvPr/>
            </p:nvSpPr>
            <p:spPr>
              <a:xfrm>
                <a:off x="1557" y="2438"/>
                <a:ext cx="8" cy="4"/>
              </a:xfrm>
              <a:custGeom>
                <a:avLst/>
                <a:gdLst/>
                <a:ahLst/>
                <a:cxnLst/>
                <a:rect l="l" t="t" r="r" b="b"/>
                <a:pathLst>
                  <a:path w="27" h="12" extrusionOk="0">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1" name="Google Shape;701;p14"/>
              <p:cNvSpPr/>
              <p:nvPr/>
            </p:nvSpPr>
            <p:spPr>
              <a:xfrm>
                <a:off x="1486" y="2444"/>
                <a:ext cx="244" cy="224"/>
              </a:xfrm>
              <a:custGeom>
                <a:avLst/>
                <a:gdLst/>
                <a:ahLst/>
                <a:cxnLst/>
                <a:rect l="l" t="t" r="r" b="b"/>
                <a:pathLst>
                  <a:path w="743" h="672" extrusionOk="0">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702" name="Google Shape;702;p14"/>
            <p:cNvSpPr/>
            <p:nvPr/>
          </p:nvSpPr>
          <p:spPr>
            <a:xfrm>
              <a:off x="7147333" y="4910192"/>
              <a:ext cx="31750" cy="11112"/>
            </a:xfrm>
            <a:custGeom>
              <a:avLst/>
              <a:gdLst/>
              <a:ahLst/>
              <a:cxnLst/>
              <a:rect l="l" t="t" r="r" b="b"/>
              <a:pathLst>
                <a:path w="79" h="23" extrusionOk="0">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3" name="Google Shape;703;p14"/>
            <p:cNvSpPr/>
            <p:nvPr/>
          </p:nvSpPr>
          <p:spPr>
            <a:xfrm>
              <a:off x="7263220" y="5043542"/>
              <a:ext cx="1588" cy="4762"/>
            </a:xfrm>
            <a:custGeom>
              <a:avLst/>
              <a:gdLst/>
              <a:ahLst/>
              <a:cxnLst/>
              <a:rect l="l" t="t" r="r" b="b"/>
              <a:pathLst>
                <a:path w="1588" h="6" extrusionOk="0">
                  <a:moveTo>
                    <a:pt x="0" y="0"/>
                  </a:moveTo>
                  <a:lnTo>
                    <a:pt x="0" y="6"/>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04" name="Google Shape;704;p14"/>
            <p:cNvCxnSpPr/>
            <p:nvPr/>
          </p:nvCxnSpPr>
          <p:spPr>
            <a:xfrm rot="10800000" flipH="1">
              <a:off x="7353708" y="5041954"/>
              <a:ext cx="1587" cy="12700"/>
            </a:xfrm>
            <a:prstGeom prst="straightConnector1">
              <a:avLst/>
            </a:prstGeom>
            <a:noFill/>
            <a:ln w="9525" cap="flat" cmpd="sng">
              <a:solidFill>
                <a:srgbClr val="FFFFFF"/>
              </a:solidFill>
              <a:prstDash val="solid"/>
              <a:round/>
              <a:headEnd type="none" w="med" len="med"/>
              <a:tailEnd type="none" w="med" len="med"/>
            </a:ln>
          </p:spPr>
        </p:cxnSp>
        <p:sp>
          <p:nvSpPr>
            <p:cNvPr id="705" name="Google Shape;705;p14"/>
            <p:cNvSpPr/>
            <p:nvPr/>
          </p:nvSpPr>
          <p:spPr>
            <a:xfrm>
              <a:off x="7353708" y="5041954"/>
              <a:ext cx="3175" cy="15875"/>
            </a:xfrm>
            <a:custGeom>
              <a:avLst/>
              <a:gdLst/>
              <a:ahLst/>
              <a:cxnLst/>
              <a:rect l="l" t="t" r="r" b="b"/>
              <a:pathLst>
                <a:path w="5" h="30" extrusionOk="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6" name="Google Shape;706;p14"/>
            <p:cNvSpPr/>
            <p:nvPr/>
          </p:nvSpPr>
          <p:spPr>
            <a:xfrm>
              <a:off x="7652158" y="4511729"/>
              <a:ext cx="22225" cy="28575"/>
            </a:xfrm>
            <a:custGeom>
              <a:avLst/>
              <a:gdLst/>
              <a:ahLst/>
              <a:cxnLst/>
              <a:rect l="l" t="t" r="r" b="b"/>
              <a:pathLst>
                <a:path w="53" h="55" extrusionOk="0">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7" name="Google Shape;707;p14"/>
            <p:cNvSpPr/>
            <p:nvPr/>
          </p:nvSpPr>
          <p:spPr>
            <a:xfrm>
              <a:off x="7658508" y="4438704"/>
              <a:ext cx="26987" cy="39688"/>
            </a:xfrm>
            <a:custGeom>
              <a:avLst/>
              <a:gdLst/>
              <a:ahLst/>
              <a:cxnLst/>
              <a:rect l="l" t="t" r="r" b="b"/>
              <a:pathLst>
                <a:path w="65" h="75" extrusionOk="0">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8" name="Google Shape;708;p14"/>
            <p:cNvSpPr/>
            <p:nvPr/>
          </p:nvSpPr>
          <p:spPr>
            <a:xfrm>
              <a:off x="7634695" y="4414892"/>
              <a:ext cx="17463" cy="30162"/>
            </a:xfrm>
            <a:custGeom>
              <a:avLst/>
              <a:gdLst/>
              <a:ahLst/>
              <a:cxnLst/>
              <a:rect l="l" t="t" r="r" b="b"/>
              <a:pathLst>
                <a:path w="40" h="62" extrusionOk="0">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9" name="Google Shape;709;p14"/>
            <p:cNvSpPr/>
            <p:nvPr/>
          </p:nvSpPr>
          <p:spPr>
            <a:xfrm>
              <a:off x="7553733" y="4292654"/>
              <a:ext cx="68262" cy="138113"/>
            </a:xfrm>
            <a:custGeom>
              <a:avLst/>
              <a:gdLst/>
              <a:ahLst/>
              <a:cxnLst/>
              <a:rect l="l" t="t" r="r" b="b"/>
              <a:pathLst>
                <a:path w="159" h="259" extrusionOk="0">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10" name="Google Shape;710;p14"/>
            <p:cNvCxnSpPr/>
            <p:nvPr/>
          </p:nvCxnSpPr>
          <p:spPr>
            <a:xfrm rot="10800000">
              <a:off x="7547383" y="4259317"/>
              <a:ext cx="6350" cy="33337"/>
            </a:xfrm>
            <a:prstGeom prst="straightConnector1">
              <a:avLst/>
            </a:prstGeom>
            <a:noFill/>
            <a:ln w="9525" cap="flat" cmpd="sng">
              <a:solidFill>
                <a:srgbClr val="FFFFFF"/>
              </a:solidFill>
              <a:prstDash val="solid"/>
              <a:round/>
              <a:headEnd type="none" w="med" len="med"/>
              <a:tailEnd type="none" w="med" len="med"/>
            </a:ln>
          </p:spPr>
        </p:cxnSp>
        <p:sp>
          <p:nvSpPr>
            <p:cNvPr id="711" name="Google Shape;711;p14"/>
            <p:cNvSpPr/>
            <p:nvPr/>
          </p:nvSpPr>
          <p:spPr>
            <a:xfrm>
              <a:off x="7547383" y="4243442"/>
              <a:ext cx="6350" cy="15875"/>
            </a:xfrm>
            <a:custGeom>
              <a:avLst/>
              <a:gdLst/>
              <a:ahLst/>
              <a:cxnLst/>
              <a:rect l="l" t="t" r="r" b="b"/>
              <a:pathLst>
                <a:path w="13" h="25" extrusionOk="0">
                  <a:moveTo>
                    <a:pt x="0" y="25"/>
                  </a:moveTo>
                  <a:lnTo>
                    <a:pt x="1" y="19"/>
                  </a:lnTo>
                  <a:lnTo>
                    <a:pt x="4" y="13"/>
                  </a:lnTo>
                  <a:lnTo>
                    <a:pt x="8" y="6"/>
                  </a:lnTo>
                  <a:lnTo>
                    <a:pt x="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12" name="Google Shape;712;p14"/>
            <p:cNvCxnSpPr/>
            <p:nvPr/>
          </p:nvCxnSpPr>
          <p:spPr>
            <a:xfrm rot="10800000">
              <a:off x="7553733" y="4230742"/>
              <a:ext cx="0" cy="12700"/>
            </a:xfrm>
            <a:prstGeom prst="straightConnector1">
              <a:avLst/>
            </a:prstGeom>
            <a:noFill/>
            <a:ln w="9525" cap="flat" cmpd="sng">
              <a:solidFill>
                <a:srgbClr val="FFFFFF"/>
              </a:solidFill>
              <a:prstDash val="solid"/>
              <a:round/>
              <a:headEnd type="none" w="med" len="med"/>
              <a:tailEnd type="none" w="med" len="med"/>
            </a:ln>
          </p:spPr>
        </p:cxnSp>
        <p:sp>
          <p:nvSpPr>
            <p:cNvPr id="713" name="Google Shape;713;p14"/>
            <p:cNvSpPr/>
            <p:nvPr/>
          </p:nvSpPr>
          <p:spPr>
            <a:xfrm>
              <a:off x="7507695" y="4164067"/>
              <a:ext cx="46038" cy="66675"/>
            </a:xfrm>
            <a:custGeom>
              <a:avLst/>
              <a:gdLst/>
              <a:ahLst/>
              <a:cxnLst/>
              <a:rect l="l" t="t" r="r" b="b"/>
              <a:pathLst>
                <a:path w="100" h="123" extrusionOk="0">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4" name="Google Shape;714;p14"/>
            <p:cNvSpPr/>
            <p:nvPr/>
          </p:nvSpPr>
          <p:spPr>
            <a:xfrm>
              <a:off x="7521983" y="4106917"/>
              <a:ext cx="1587" cy="50800"/>
            </a:xfrm>
            <a:custGeom>
              <a:avLst/>
              <a:gdLst/>
              <a:ahLst/>
              <a:cxnLst/>
              <a:rect l="l" t="t" r="r" b="b"/>
              <a:pathLst>
                <a:path w="5" h="99" extrusionOk="0">
                  <a:moveTo>
                    <a:pt x="5" y="0"/>
                  </a:moveTo>
                  <a:lnTo>
                    <a:pt x="4" y="34"/>
                  </a:lnTo>
                  <a:lnTo>
                    <a:pt x="1" y="59"/>
                  </a:lnTo>
                  <a:lnTo>
                    <a:pt x="0" y="69"/>
                  </a:lnTo>
                  <a:lnTo>
                    <a:pt x="0" y="78"/>
                  </a:lnTo>
                  <a:lnTo>
                    <a:pt x="2" y="87"/>
                  </a:lnTo>
                  <a:lnTo>
                    <a:pt x="5" y="9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5" name="Google Shape;715;p14"/>
            <p:cNvSpPr/>
            <p:nvPr/>
          </p:nvSpPr>
          <p:spPr>
            <a:xfrm>
              <a:off x="7528333" y="4100567"/>
              <a:ext cx="7937" cy="36512"/>
            </a:xfrm>
            <a:custGeom>
              <a:avLst/>
              <a:gdLst/>
              <a:ahLst/>
              <a:cxnLst/>
              <a:rect l="l" t="t" r="r" b="b"/>
              <a:pathLst>
                <a:path w="14" h="68" extrusionOk="0">
                  <a:moveTo>
                    <a:pt x="14" y="0"/>
                  </a:moveTo>
                  <a:lnTo>
                    <a:pt x="8" y="16"/>
                  </a:lnTo>
                  <a:lnTo>
                    <a:pt x="4" y="33"/>
                  </a:lnTo>
                  <a:lnTo>
                    <a:pt x="2" y="52"/>
                  </a:lnTo>
                  <a:lnTo>
                    <a:pt x="0"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6" name="Google Shape;716;p14"/>
            <p:cNvSpPr/>
            <p:nvPr/>
          </p:nvSpPr>
          <p:spPr>
            <a:xfrm>
              <a:off x="7544208" y="4081517"/>
              <a:ext cx="1587" cy="22225"/>
            </a:xfrm>
            <a:custGeom>
              <a:avLst/>
              <a:gdLst/>
              <a:ahLst/>
              <a:cxnLst/>
              <a:rect l="l" t="t" r="r" b="b"/>
              <a:pathLst>
                <a:path w="1587" h="43" extrusionOk="0">
                  <a:moveTo>
                    <a:pt x="0" y="0"/>
                  </a:moveTo>
                  <a:lnTo>
                    <a:pt x="0" y="13"/>
                  </a:lnTo>
                  <a:lnTo>
                    <a:pt x="0" y="26"/>
                  </a:lnTo>
                  <a:lnTo>
                    <a:pt x="0" y="37"/>
                  </a:lnTo>
                  <a:lnTo>
                    <a:pt x="0"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17" name="Google Shape;717;p14"/>
            <p:cNvCxnSpPr/>
            <p:nvPr/>
          </p:nvCxnSpPr>
          <p:spPr>
            <a:xfrm rot="10800000" flipH="1">
              <a:off x="7544208" y="4100567"/>
              <a:ext cx="1587" cy="3175"/>
            </a:xfrm>
            <a:prstGeom prst="straightConnector1">
              <a:avLst/>
            </a:prstGeom>
            <a:noFill/>
            <a:ln w="9525" cap="flat" cmpd="sng">
              <a:solidFill>
                <a:srgbClr val="FFFFFF"/>
              </a:solidFill>
              <a:prstDash val="solid"/>
              <a:round/>
              <a:headEnd type="none" w="med" len="med"/>
              <a:tailEnd type="none" w="med" len="med"/>
            </a:ln>
          </p:spPr>
        </p:cxnSp>
        <p:sp>
          <p:nvSpPr>
            <p:cNvPr id="718" name="Google Shape;718;p14"/>
            <p:cNvSpPr/>
            <p:nvPr/>
          </p:nvSpPr>
          <p:spPr>
            <a:xfrm>
              <a:off x="7528333" y="4084692"/>
              <a:ext cx="1587" cy="15875"/>
            </a:xfrm>
            <a:custGeom>
              <a:avLst/>
              <a:gdLst/>
              <a:ahLst/>
              <a:cxnLst/>
              <a:rect l="l" t="t" r="r" b="b"/>
              <a:pathLst>
                <a:path w="1587" h="31" extrusionOk="0">
                  <a:moveTo>
                    <a:pt x="0" y="31"/>
                  </a:moveTo>
                  <a:lnTo>
                    <a:pt x="0" y="22"/>
                  </a:lnTo>
                  <a:lnTo>
                    <a:pt x="0" y="15"/>
                  </a:lnTo>
                  <a:lnTo>
                    <a:pt x="0" y="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9" name="Google Shape;719;p14"/>
            <p:cNvSpPr/>
            <p:nvPr/>
          </p:nvSpPr>
          <p:spPr>
            <a:xfrm>
              <a:off x="7248933" y="5073704"/>
              <a:ext cx="96837" cy="87313"/>
            </a:xfrm>
            <a:custGeom>
              <a:avLst/>
              <a:gdLst/>
              <a:ahLst/>
              <a:cxnLst/>
              <a:rect l="l" t="t" r="r" b="b"/>
              <a:pathLst>
                <a:path w="225" h="167" extrusionOk="0">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0" name="Google Shape;720;p14"/>
            <p:cNvSpPr/>
            <p:nvPr/>
          </p:nvSpPr>
          <p:spPr>
            <a:xfrm>
              <a:off x="7387045" y="4292654"/>
              <a:ext cx="3175" cy="17463"/>
            </a:xfrm>
            <a:custGeom>
              <a:avLst/>
              <a:gdLst/>
              <a:ahLst/>
              <a:cxnLst/>
              <a:rect l="l" t="t" r="r" b="b"/>
              <a:pathLst>
                <a:path w="7" h="31" extrusionOk="0">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1" name="Google Shape;721;p14"/>
            <p:cNvSpPr/>
            <p:nvPr/>
          </p:nvSpPr>
          <p:spPr>
            <a:xfrm>
              <a:off x="7320370" y="4214867"/>
              <a:ext cx="15875" cy="15875"/>
            </a:xfrm>
            <a:custGeom>
              <a:avLst/>
              <a:gdLst/>
              <a:ahLst/>
              <a:cxnLst/>
              <a:rect l="l" t="t" r="r" b="b"/>
              <a:pathLst>
                <a:path w="33" h="31" extrusionOk="0">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2" name="Google Shape;722;p14"/>
            <p:cNvSpPr/>
            <p:nvPr/>
          </p:nvSpPr>
          <p:spPr>
            <a:xfrm>
              <a:off x="7336245" y="4127554"/>
              <a:ext cx="3175" cy="9525"/>
            </a:xfrm>
            <a:custGeom>
              <a:avLst/>
              <a:gdLst/>
              <a:ahLst/>
              <a:cxnLst/>
              <a:rect l="l" t="t" r="r" b="b"/>
              <a:pathLst>
                <a:path w="13" h="19" extrusionOk="0">
                  <a:moveTo>
                    <a:pt x="0" y="19"/>
                  </a:moveTo>
                  <a:lnTo>
                    <a:pt x="2" y="18"/>
                  </a:lnTo>
                  <a:lnTo>
                    <a:pt x="5" y="17"/>
                  </a:lnTo>
                  <a:lnTo>
                    <a:pt x="7" y="15"/>
                  </a:lnTo>
                  <a:lnTo>
                    <a:pt x="8" y="12"/>
                  </a:lnTo>
                  <a:lnTo>
                    <a:pt x="12" y="6"/>
                  </a:lnTo>
                  <a:lnTo>
                    <a:pt x="13" y="0"/>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3" name="Google Shape;723;p14"/>
            <p:cNvSpPr/>
            <p:nvPr/>
          </p:nvSpPr>
          <p:spPr>
            <a:xfrm>
              <a:off x="7175908" y="4130729"/>
              <a:ext cx="36512" cy="22225"/>
            </a:xfrm>
            <a:custGeom>
              <a:avLst/>
              <a:gdLst/>
              <a:ahLst/>
              <a:cxnLst/>
              <a:rect l="l" t="t" r="r" b="b"/>
              <a:pathLst>
                <a:path w="87" h="42" extrusionOk="0">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4" name="Google Shape;724;p14"/>
            <p:cNvSpPr/>
            <p:nvPr/>
          </p:nvSpPr>
          <p:spPr>
            <a:xfrm>
              <a:off x="7420383" y="4594279"/>
              <a:ext cx="1587" cy="14288"/>
            </a:xfrm>
            <a:custGeom>
              <a:avLst/>
              <a:gdLst/>
              <a:ahLst/>
              <a:cxnLst/>
              <a:rect l="l" t="t" r="r" b="b"/>
              <a:pathLst>
                <a:path w="7" h="31" extrusionOk="0">
                  <a:moveTo>
                    <a:pt x="0" y="0"/>
                  </a:moveTo>
                  <a:lnTo>
                    <a:pt x="7" y="0"/>
                  </a:lnTo>
                  <a:lnTo>
                    <a:pt x="7" y="18"/>
                  </a:lnTo>
                  <a:lnTo>
                    <a:pt x="0" y="3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5" name="Google Shape;725;p14"/>
            <p:cNvSpPr/>
            <p:nvPr/>
          </p:nvSpPr>
          <p:spPr>
            <a:xfrm>
              <a:off x="6656795" y="4100567"/>
              <a:ext cx="1019175" cy="908050"/>
            </a:xfrm>
            <a:custGeom>
              <a:avLst/>
              <a:gdLst/>
              <a:ahLst/>
              <a:cxnLst/>
              <a:rect l="l" t="t" r="r" b="b"/>
              <a:pathLst>
                <a:path w="2332" h="1731" extrusionOk="0">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6" name="Google Shape;726;p14"/>
            <p:cNvSpPr/>
            <p:nvPr/>
          </p:nvSpPr>
          <p:spPr>
            <a:xfrm>
              <a:off x="1143408" y="2767067"/>
              <a:ext cx="668337" cy="581025"/>
            </a:xfrm>
            <a:custGeom>
              <a:avLst/>
              <a:gdLst/>
              <a:ahLst/>
              <a:cxnLst/>
              <a:rect l="l" t="t" r="r" b="b"/>
              <a:pathLst>
                <a:path w="1535" h="1109" extrusionOk="0">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7" name="Google Shape;727;p14"/>
            <p:cNvSpPr/>
            <p:nvPr/>
          </p:nvSpPr>
          <p:spPr>
            <a:xfrm>
              <a:off x="2418170" y="4406954"/>
              <a:ext cx="211138" cy="265113"/>
            </a:xfrm>
            <a:custGeom>
              <a:avLst/>
              <a:gdLst/>
              <a:ahLst/>
              <a:cxnLst/>
              <a:rect l="l" t="t" r="r" b="b"/>
              <a:pathLst>
                <a:path w="486" h="505" extrusionOk="0">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8" name="Google Shape;728;p14"/>
            <p:cNvSpPr/>
            <p:nvPr/>
          </p:nvSpPr>
          <p:spPr>
            <a:xfrm>
              <a:off x="2588033" y="3611617"/>
              <a:ext cx="73025" cy="109537"/>
            </a:xfrm>
            <a:custGeom>
              <a:avLst/>
              <a:gdLst/>
              <a:ahLst/>
              <a:cxnLst/>
              <a:rect l="l" t="t" r="r" b="b"/>
              <a:pathLst>
                <a:path w="166" h="208" extrusionOk="0">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9" name="Google Shape;729;p14"/>
            <p:cNvSpPr/>
            <p:nvPr/>
          </p:nvSpPr>
          <p:spPr>
            <a:xfrm>
              <a:off x="2102258" y="3170292"/>
              <a:ext cx="69850" cy="58737"/>
            </a:xfrm>
            <a:custGeom>
              <a:avLst/>
              <a:gdLst/>
              <a:ahLst/>
              <a:cxnLst/>
              <a:rect l="l" t="t" r="r" b="b"/>
              <a:pathLst>
                <a:path w="164" h="104" extrusionOk="0">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0" name="Google Shape;730;p14"/>
            <p:cNvSpPr/>
            <p:nvPr/>
          </p:nvSpPr>
          <p:spPr>
            <a:xfrm>
              <a:off x="2468970" y="5524554"/>
              <a:ext cx="23813" cy="57150"/>
            </a:xfrm>
            <a:custGeom>
              <a:avLst/>
              <a:gdLst/>
              <a:ahLst/>
              <a:cxnLst/>
              <a:rect l="l" t="t" r="r" b="b"/>
              <a:pathLst>
                <a:path w="53" h="19" extrusionOk="0">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1" name="Google Shape;731;p14"/>
            <p:cNvSpPr/>
            <p:nvPr/>
          </p:nvSpPr>
          <p:spPr>
            <a:xfrm>
              <a:off x="2434045" y="5503917"/>
              <a:ext cx="34925" cy="58737"/>
            </a:xfrm>
            <a:custGeom>
              <a:avLst/>
              <a:gdLst/>
              <a:ahLst/>
              <a:cxnLst/>
              <a:rect l="l" t="t" r="r" b="b"/>
              <a:pathLst>
                <a:path w="80" h="18" extrusionOk="0">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2" name="Google Shape;732;p14"/>
            <p:cNvSpPr/>
            <p:nvPr/>
          </p:nvSpPr>
          <p:spPr>
            <a:xfrm>
              <a:off x="2434045" y="5483279"/>
              <a:ext cx="22225" cy="60325"/>
            </a:xfrm>
            <a:custGeom>
              <a:avLst/>
              <a:gdLst/>
              <a:ahLst/>
              <a:cxnLst/>
              <a:rect l="l" t="t" r="r" b="b"/>
              <a:pathLst>
                <a:path w="46" h="27" extrusionOk="0">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3" name="Google Shape;733;p14"/>
            <p:cNvSpPr/>
            <p:nvPr/>
          </p:nvSpPr>
          <p:spPr>
            <a:xfrm>
              <a:off x="2403883" y="5476929"/>
              <a:ext cx="25400" cy="60325"/>
            </a:xfrm>
            <a:custGeom>
              <a:avLst/>
              <a:gdLst/>
              <a:ahLst/>
              <a:cxnLst/>
              <a:rect l="l" t="t" r="r" b="b"/>
              <a:pathLst>
                <a:path w="54" h="39" extrusionOk="0">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4" name="Google Shape;734;p14"/>
            <p:cNvSpPr/>
            <p:nvPr/>
          </p:nvSpPr>
          <p:spPr>
            <a:xfrm>
              <a:off x="2378483" y="5467404"/>
              <a:ext cx="28575" cy="58738"/>
            </a:xfrm>
            <a:custGeom>
              <a:avLst/>
              <a:gdLst/>
              <a:ahLst/>
              <a:cxnLst/>
              <a:rect l="l" t="t" r="r" b="b"/>
              <a:pathLst>
                <a:path w="60" h="15" extrusionOk="0">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5" name="Google Shape;735;p14"/>
            <p:cNvSpPr/>
            <p:nvPr/>
          </p:nvSpPr>
          <p:spPr>
            <a:xfrm>
              <a:off x="2354670" y="5454704"/>
              <a:ext cx="33338" cy="57150"/>
            </a:xfrm>
            <a:custGeom>
              <a:avLst/>
              <a:gdLst/>
              <a:ahLst/>
              <a:cxnLst/>
              <a:rect l="l" t="t" r="r" b="b"/>
              <a:pathLst>
                <a:path w="79" h="32" extrusionOk="0">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6" name="Google Shape;736;p14"/>
            <p:cNvSpPr/>
            <p:nvPr/>
          </p:nvSpPr>
          <p:spPr>
            <a:xfrm>
              <a:off x="2348320" y="5435654"/>
              <a:ext cx="30163" cy="57150"/>
            </a:xfrm>
            <a:custGeom>
              <a:avLst/>
              <a:gdLst/>
              <a:ahLst/>
              <a:cxnLst/>
              <a:rect l="l" t="t" r="r" b="b"/>
              <a:pathLst>
                <a:path w="66" h="19" extrusionOk="0">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7" name="Google Shape;737;p14"/>
            <p:cNvSpPr/>
            <p:nvPr/>
          </p:nvSpPr>
          <p:spPr>
            <a:xfrm>
              <a:off x="2248308" y="5126092"/>
              <a:ext cx="25400" cy="60325"/>
            </a:xfrm>
            <a:custGeom>
              <a:avLst/>
              <a:gdLst/>
              <a:ahLst/>
              <a:cxnLst/>
              <a:rect l="l" t="t" r="r" b="b"/>
              <a:pathLst>
                <a:path w="53" h="80" extrusionOk="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8" name="Google Shape;738;p14"/>
            <p:cNvSpPr/>
            <p:nvPr/>
          </p:nvSpPr>
          <p:spPr>
            <a:xfrm>
              <a:off x="2278470" y="5221342"/>
              <a:ext cx="17463" cy="53975"/>
            </a:xfrm>
            <a:custGeom>
              <a:avLst/>
              <a:gdLst/>
              <a:ahLst/>
              <a:cxnLst/>
              <a:rect l="l" t="t" r="r" b="b"/>
              <a:pathLst>
                <a:path w="41" h="43" extrusionOk="0">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9" name="Google Shape;739;p14"/>
            <p:cNvSpPr/>
            <p:nvPr/>
          </p:nvSpPr>
          <p:spPr>
            <a:xfrm>
              <a:off x="2283233" y="5243567"/>
              <a:ext cx="7937" cy="58737"/>
            </a:xfrm>
            <a:custGeom>
              <a:avLst/>
              <a:gdLst/>
              <a:ahLst/>
              <a:cxnLst/>
              <a:rect l="l" t="t" r="r" b="b"/>
              <a:pathLst>
                <a:path w="20" h="24" extrusionOk="0">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0" name="Google Shape;740;p14"/>
            <p:cNvSpPr/>
            <p:nvPr/>
          </p:nvSpPr>
          <p:spPr>
            <a:xfrm>
              <a:off x="2297520" y="5305479"/>
              <a:ext cx="17463" cy="60325"/>
            </a:xfrm>
            <a:custGeom>
              <a:avLst/>
              <a:gdLst/>
              <a:ahLst/>
              <a:cxnLst/>
              <a:rect l="l" t="t" r="r" b="b"/>
              <a:pathLst>
                <a:path w="39" h="43" extrusionOk="0">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1" name="Google Shape;741;p14"/>
            <p:cNvSpPr/>
            <p:nvPr/>
          </p:nvSpPr>
          <p:spPr>
            <a:xfrm>
              <a:off x="2284820" y="5318179"/>
              <a:ext cx="26988" cy="58738"/>
            </a:xfrm>
            <a:custGeom>
              <a:avLst/>
              <a:gdLst/>
              <a:ahLst/>
              <a:cxnLst/>
              <a:rect l="l" t="t" r="r" b="b"/>
              <a:pathLst>
                <a:path w="55" h="62" extrusionOk="0">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2" name="Google Shape;742;p14"/>
            <p:cNvSpPr/>
            <p:nvPr/>
          </p:nvSpPr>
          <p:spPr>
            <a:xfrm>
              <a:off x="2314983" y="5351517"/>
              <a:ext cx="11112" cy="58737"/>
            </a:xfrm>
            <a:custGeom>
              <a:avLst/>
              <a:gdLst/>
              <a:ahLst/>
              <a:cxnLst/>
              <a:rect l="l" t="t" r="r" b="b"/>
              <a:pathLst>
                <a:path w="35" h="43" extrusionOk="0">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3" name="Google Shape;743;p14"/>
            <p:cNvSpPr/>
            <p:nvPr/>
          </p:nvSpPr>
          <p:spPr>
            <a:xfrm>
              <a:off x="2311808" y="5384854"/>
              <a:ext cx="20637" cy="55563"/>
            </a:xfrm>
            <a:custGeom>
              <a:avLst/>
              <a:gdLst/>
              <a:ahLst/>
              <a:cxnLst/>
              <a:rect l="l" t="t" r="r" b="b"/>
              <a:pathLst>
                <a:path w="53" h="21" extrusionOk="0">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4" name="Google Shape;744;p14"/>
            <p:cNvSpPr/>
            <p:nvPr/>
          </p:nvSpPr>
          <p:spPr>
            <a:xfrm>
              <a:off x="2335620" y="5399142"/>
              <a:ext cx="17463" cy="57150"/>
            </a:xfrm>
            <a:custGeom>
              <a:avLst/>
              <a:gdLst/>
              <a:ahLst/>
              <a:cxnLst/>
              <a:rect l="l" t="t" r="r" b="b"/>
              <a:pathLst>
                <a:path w="43" h="38" extrusionOk="0">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5" name="Google Shape;745;p14"/>
            <p:cNvSpPr/>
            <p:nvPr/>
          </p:nvSpPr>
          <p:spPr>
            <a:xfrm>
              <a:off x="2337208" y="5427717"/>
              <a:ext cx="6350" cy="57150"/>
            </a:xfrm>
            <a:custGeom>
              <a:avLst/>
              <a:gdLst/>
              <a:ahLst/>
              <a:cxnLst/>
              <a:rect l="l" t="t" r="r" b="b"/>
              <a:pathLst>
                <a:path w="20" h="5" extrusionOk="0">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6" name="Google Shape;746;p14"/>
            <p:cNvSpPr/>
            <p:nvPr/>
          </p:nvSpPr>
          <p:spPr>
            <a:xfrm>
              <a:off x="2411820" y="5497567"/>
              <a:ext cx="34925" cy="57150"/>
            </a:xfrm>
            <a:custGeom>
              <a:avLst/>
              <a:gdLst/>
              <a:ahLst/>
              <a:cxnLst/>
              <a:rect l="l" t="t" r="r" b="b"/>
              <a:pathLst>
                <a:path w="73" h="22" extrusionOk="0">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7" name="Google Shape;747;p14"/>
            <p:cNvSpPr/>
            <p:nvPr/>
          </p:nvSpPr>
          <p:spPr>
            <a:xfrm>
              <a:off x="2449920" y="5438829"/>
              <a:ext cx="123825" cy="100013"/>
            </a:xfrm>
            <a:custGeom>
              <a:avLst/>
              <a:gdLst/>
              <a:ahLst/>
              <a:cxnLst/>
              <a:rect l="l" t="t" r="r" b="b"/>
              <a:pathLst>
                <a:path w="281" h="193" extrusionOk="0">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8" name="Google Shape;748;p14"/>
            <p:cNvSpPr/>
            <p:nvPr/>
          </p:nvSpPr>
          <p:spPr>
            <a:xfrm>
              <a:off x="2002245" y="3205217"/>
              <a:ext cx="52388" cy="58737"/>
            </a:xfrm>
            <a:custGeom>
              <a:avLst/>
              <a:gdLst/>
              <a:ahLst/>
              <a:cxnLst/>
              <a:rect l="l" t="t" r="r" b="b"/>
              <a:pathLst>
                <a:path w="120" h="56" extrusionOk="0">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9" name="Google Shape;749;p14"/>
            <p:cNvSpPr/>
            <p:nvPr/>
          </p:nvSpPr>
          <p:spPr>
            <a:xfrm>
              <a:off x="1859370" y="3067104"/>
              <a:ext cx="250825" cy="109538"/>
            </a:xfrm>
            <a:custGeom>
              <a:avLst/>
              <a:gdLst/>
              <a:ahLst/>
              <a:cxnLst/>
              <a:rect l="l" t="t" r="r" b="b"/>
              <a:pathLst>
                <a:path w="574" h="204" extrusionOk="0">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0" name="Google Shape;750;p14"/>
            <p:cNvSpPr/>
            <p:nvPr/>
          </p:nvSpPr>
          <p:spPr>
            <a:xfrm>
              <a:off x="2164170" y="3170292"/>
              <a:ext cx="88900" cy="69850"/>
            </a:xfrm>
            <a:custGeom>
              <a:avLst/>
              <a:gdLst/>
              <a:ahLst/>
              <a:cxnLst/>
              <a:rect l="l" t="t" r="r" b="b"/>
              <a:pathLst>
                <a:path w="207" h="129" extrusionOk="0">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1" name="Google Shape;751;p14"/>
            <p:cNvSpPr/>
            <p:nvPr/>
          </p:nvSpPr>
          <p:spPr>
            <a:xfrm>
              <a:off x="1732370" y="3230617"/>
              <a:ext cx="33338" cy="84137"/>
            </a:xfrm>
            <a:custGeom>
              <a:avLst/>
              <a:gdLst/>
              <a:ahLst/>
              <a:cxnLst/>
              <a:rect l="l" t="t" r="r" b="b"/>
              <a:pathLst>
                <a:path w="72" h="154" extrusionOk="0">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2" name="Google Shape;752;p14"/>
            <p:cNvSpPr/>
            <p:nvPr/>
          </p:nvSpPr>
          <p:spPr>
            <a:xfrm>
              <a:off x="1652995" y="3230617"/>
              <a:ext cx="93663" cy="146050"/>
            </a:xfrm>
            <a:custGeom>
              <a:avLst/>
              <a:gdLst/>
              <a:ahLst/>
              <a:cxnLst/>
              <a:rect l="l" t="t" r="r" b="b"/>
              <a:pathLst>
                <a:path w="214" h="271" extrusionOk="0">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3" name="Google Shape;753;p14"/>
            <p:cNvSpPr/>
            <p:nvPr/>
          </p:nvSpPr>
          <p:spPr>
            <a:xfrm>
              <a:off x="1700620" y="3341742"/>
              <a:ext cx="71438" cy="57150"/>
            </a:xfrm>
            <a:custGeom>
              <a:avLst/>
              <a:gdLst/>
              <a:ahLst/>
              <a:cxnLst/>
              <a:rect l="l" t="t" r="r" b="b"/>
              <a:pathLst>
                <a:path w="153" h="80" extrusionOk="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4" name="Google Shape;754;p14"/>
            <p:cNvSpPr/>
            <p:nvPr/>
          </p:nvSpPr>
          <p:spPr>
            <a:xfrm>
              <a:off x="1732370" y="3303642"/>
              <a:ext cx="142875" cy="87312"/>
            </a:xfrm>
            <a:custGeom>
              <a:avLst/>
              <a:gdLst/>
              <a:ahLst/>
              <a:cxnLst/>
              <a:rect l="l" t="t" r="r" b="b"/>
              <a:pathLst>
                <a:path w="332" h="169" extrusionOk="0">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5" name="Google Shape;755;p14"/>
            <p:cNvSpPr/>
            <p:nvPr/>
          </p:nvSpPr>
          <p:spPr>
            <a:xfrm>
              <a:off x="1749833" y="3333804"/>
              <a:ext cx="125412" cy="122238"/>
            </a:xfrm>
            <a:custGeom>
              <a:avLst/>
              <a:gdLst/>
              <a:ahLst/>
              <a:cxnLst/>
              <a:rect l="l" t="t" r="r" b="b"/>
              <a:pathLst>
                <a:path w="286" h="235" extrusionOk="0">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6" name="Google Shape;756;p14"/>
            <p:cNvSpPr/>
            <p:nvPr/>
          </p:nvSpPr>
          <p:spPr>
            <a:xfrm>
              <a:off x="1800633" y="3446517"/>
              <a:ext cx="84137" cy="100012"/>
            </a:xfrm>
            <a:custGeom>
              <a:avLst/>
              <a:gdLst/>
              <a:ahLst/>
              <a:cxnLst/>
              <a:rect l="l" t="t" r="r" b="b"/>
              <a:pathLst>
                <a:path w="205" h="191" extrusionOk="0">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7" name="Google Shape;757;p14"/>
            <p:cNvSpPr/>
            <p:nvPr/>
          </p:nvSpPr>
          <p:spPr>
            <a:xfrm>
              <a:off x="1881595" y="3500492"/>
              <a:ext cx="142875" cy="79375"/>
            </a:xfrm>
            <a:custGeom>
              <a:avLst/>
              <a:gdLst/>
              <a:ahLst/>
              <a:cxnLst/>
              <a:rect l="l" t="t" r="r" b="b"/>
              <a:pathLst>
                <a:path w="329" h="154" extrusionOk="0">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8" name="Google Shape;758;p14"/>
            <p:cNvSpPr/>
            <p:nvPr/>
          </p:nvSpPr>
          <p:spPr>
            <a:xfrm>
              <a:off x="2562633" y="4754617"/>
              <a:ext cx="133350" cy="155575"/>
            </a:xfrm>
            <a:custGeom>
              <a:avLst/>
              <a:gdLst/>
              <a:ahLst/>
              <a:cxnLst/>
              <a:rect l="l" t="t" r="r" b="b"/>
              <a:pathLst>
                <a:path w="306" h="293" extrusionOk="0">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9" name="Google Shape;759;p14"/>
            <p:cNvSpPr/>
            <p:nvPr/>
          </p:nvSpPr>
          <p:spPr>
            <a:xfrm>
              <a:off x="4108858" y="1371654"/>
              <a:ext cx="236537" cy="92075"/>
            </a:xfrm>
            <a:custGeom>
              <a:avLst/>
              <a:gdLst/>
              <a:ahLst/>
              <a:cxnLst/>
              <a:rect l="l" t="t" r="r" b="b"/>
              <a:pathLst>
                <a:path w="546" h="173" extrusionOk="0">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0" name="Google Shape;760;p14"/>
            <p:cNvSpPr/>
            <p:nvPr/>
          </p:nvSpPr>
          <p:spPr>
            <a:xfrm>
              <a:off x="4035833" y="1601842"/>
              <a:ext cx="449262" cy="361950"/>
            </a:xfrm>
            <a:custGeom>
              <a:avLst/>
              <a:gdLst/>
              <a:ahLst/>
              <a:cxnLst/>
              <a:rect l="l" t="t" r="r" b="b"/>
              <a:pathLst>
                <a:path w="1037" h="690" extrusionOk="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1" name="Google Shape;761;p14"/>
            <p:cNvSpPr/>
            <p:nvPr/>
          </p:nvSpPr>
          <p:spPr>
            <a:xfrm>
              <a:off x="4375558" y="2443217"/>
              <a:ext cx="49212" cy="90487"/>
            </a:xfrm>
            <a:custGeom>
              <a:avLst/>
              <a:gdLst/>
              <a:ahLst/>
              <a:cxnLst/>
              <a:rect l="l" t="t" r="r" b="b"/>
              <a:pathLst>
                <a:path w="120" h="173" extrusionOk="0">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2" name="Google Shape;762;p14"/>
            <p:cNvSpPr/>
            <p:nvPr/>
          </p:nvSpPr>
          <p:spPr>
            <a:xfrm>
              <a:off x="4083458" y="2282879"/>
              <a:ext cx="84137" cy="58738"/>
            </a:xfrm>
            <a:custGeom>
              <a:avLst/>
              <a:gdLst/>
              <a:ahLst/>
              <a:cxnLst/>
              <a:rect l="l" t="t" r="r" b="b"/>
              <a:pathLst>
                <a:path w="200" h="98" extrusionOk="0">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3" name="Google Shape;763;p14"/>
            <p:cNvSpPr/>
            <p:nvPr/>
          </p:nvSpPr>
          <p:spPr>
            <a:xfrm>
              <a:off x="4021545" y="2101904"/>
              <a:ext cx="84138" cy="73025"/>
            </a:xfrm>
            <a:custGeom>
              <a:avLst/>
              <a:gdLst/>
              <a:ahLst/>
              <a:cxnLst/>
              <a:rect l="l" t="t" r="r" b="b"/>
              <a:pathLst>
                <a:path w="186" h="142" extrusionOk="0">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4" name="Google Shape;764;p14"/>
            <p:cNvSpPr/>
            <p:nvPr/>
          </p:nvSpPr>
          <p:spPr>
            <a:xfrm>
              <a:off x="4002495" y="2165404"/>
              <a:ext cx="84138" cy="57150"/>
            </a:xfrm>
            <a:custGeom>
              <a:avLst/>
              <a:gdLst/>
              <a:ahLst/>
              <a:cxnLst/>
              <a:rect l="l" t="t" r="r" b="b"/>
              <a:pathLst>
                <a:path w="192" h="105" extrusionOk="0">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5" name="Google Shape;765;p14"/>
            <p:cNvSpPr/>
            <p:nvPr/>
          </p:nvSpPr>
          <p:spPr>
            <a:xfrm>
              <a:off x="4762908" y="2719442"/>
              <a:ext cx="33337" cy="131762"/>
            </a:xfrm>
            <a:custGeom>
              <a:avLst/>
              <a:gdLst/>
              <a:ahLst/>
              <a:cxnLst/>
              <a:rect l="l" t="t" r="r" b="b"/>
              <a:pathLst>
                <a:path w="80" h="254" extrusionOk="0">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6" name="Google Shape;766;p14"/>
            <p:cNvSpPr/>
            <p:nvPr/>
          </p:nvSpPr>
          <p:spPr>
            <a:xfrm>
              <a:off x="4693057" y="2771829"/>
              <a:ext cx="88901" cy="130175"/>
            </a:xfrm>
            <a:custGeom>
              <a:avLst/>
              <a:gdLst/>
              <a:ahLst/>
              <a:cxnLst/>
              <a:rect l="l" t="t" r="r" b="b"/>
              <a:pathLst>
                <a:path w="167" h="259" extrusionOk="0">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336699"/>
            </a:solidFill>
            <a:ln w="9525" cap="flat" cmpd="sng">
              <a:no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7" name="Google Shape;767;p14"/>
            <p:cNvSpPr/>
            <p:nvPr/>
          </p:nvSpPr>
          <p:spPr>
            <a:xfrm>
              <a:off x="3713570" y="2025704"/>
              <a:ext cx="96838" cy="144463"/>
            </a:xfrm>
            <a:custGeom>
              <a:avLst/>
              <a:gdLst/>
              <a:ahLst/>
              <a:cxnLst/>
              <a:rect l="l" t="t" r="r" b="b"/>
              <a:pathLst>
                <a:path w="225" h="273" extrusionOk="0">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8" name="Google Shape;768;p14"/>
            <p:cNvSpPr/>
            <p:nvPr/>
          </p:nvSpPr>
          <p:spPr>
            <a:xfrm>
              <a:off x="3526245" y="2936929"/>
              <a:ext cx="306388" cy="390525"/>
            </a:xfrm>
            <a:custGeom>
              <a:avLst/>
              <a:gdLst/>
              <a:ahLst/>
              <a:cxnLst/>
              <a:rect l="l" t="t" r="r" b="b"/>
              <a:pathLst>
                <a:path w="232" h="248" extrusionOk="0">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9" name="Google Shape;769;p14"/>
            <p:cNvSpPr/>
            <p:nvPr/>
          </p:nvSpPr>
          <p:spPr>
            <a:xfrm>
              <a:off x="3642133" y="2997254"/>
              <a:ext cx="414337" cy="468313"/>
            </a:xfrm>
            <a:custGeom>
              <a:avLst/>
              <a:gdLst/>
              <a:ahLst/>
              <a:cxnLst/>
              <a:rect l="l" t="t" r="r" b="b"/>
              <a:pathLst>
                <a:path w="948" h="893" extrusionOk="0">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0" name="Google Shape;770;p14"/>
            <p:cNvSpPr/>
            <p:nvPr/>
          </p:nvSpPr>
          <p:spPr>
            <a:xfrm>
              <a:off x="3740558" y="2603554"/>
              <a:ext cx="493712" cy="579438"/>
            </a:xfrm>
            <a:custGeom>
              <a:avLst/>
              <a:gdLst/>
              <a:ahLst/>
              <a:cxnLst/>
              <a:rect l="l" t="t" r="r" b="b"/>
              <a:pathLst>
                <a:path w="373" h="370" extrusionOk="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1" name="Google Shape;771;p14"/>
            <p:cNvSpPr/>
            <p:nvPr/>
          </p:nvSpPr>
          <p:spPr>
            <a:xfrm>
              <a:off x="4177120" y="2738492"/>
              <a:ext cx="384175" cy="436562"/>
            </a:xfrm>
            <a:custGeom>
              <a:avLst/>
              <a:gdLst/>
              <a:ahLst/>
              <a:cxnLst/>
              <a:rect l="l" t="t" r="r" b="b"/>
              <a:pathLst>
                <a:path w="877" h="826" extrusionOk="0">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2" name="Google Shape;772;p14"/>
            <p:cNvSpPr/>
            <p:nvPr/>
          </p:nvSpPr>
          <p:spPr>
            <a:xfrm>
              <a:off x="4129495" y="2603554"/>
              <a:ext cx="93663" cy="236538"/>
            </a:xfrm>
            <a:custGeom>
              <a:avLst/>
              <a:gdLst/>
              <a:ahLst/>
              <a:cxnLst/>
              <a:rect l="l" t="t" r="r" b="b"/>
              <a:pathLst>
                <a:path w="206" h="455" extrusionOk="0">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3" name="Google Shape;773;p14"/>
            <p:cNvSpPr/>
            <p:nvPr/>
          </p:nvSpPr>
          <p:spPr>
            <a:xfrm>
              <a:off x="3511958" y="2914704"/>
              <a:ext cx="231775" cy="215900"/>
            </a:xfrm>
            <a:custGeom>
              <a:avLst/>
              <a:gdLst/>
              <a:ahLst/>
              <a:cxnLst/>
              <a:rect l="l" t="t" r="r" b="b"/>
              <a:pathLst>
                <a:path w="518" h="406" extrusionOk="0">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4" name="Google Shape;774;p14"/>
            <p:cNvSpPr/>
            <p:nvPr/>
          </p:nvSpPr>
          <p:spPr>
            <a:xfrm>
              <a:off x="3480208" y="1722492"/>
              <a:ext cx="190500" cy="93662"/>
            </a:xfrm>
            <a:custGeom>
              <a:avLst/>
              <a:gdLst/>
              <a:ahLst/>
              <a:cxnLst/>
              <a:rect l="l" t="t" r="r" b="b"/>
              <a:pathLst>
                <a:path w="446" h="178" extrusionOk="0">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5" name="Google Shape;775;p14"/>
            <p:cNvSpPr/>
            <p:nvPr/>
          </p:nvSpPr>
          <p:spPr>
            <a:xfrm>
              <a:off x="4272370" y="1986017"/>
              <a:ext cx="14288" cy="57150"/>
            </a:xfrm>
            <a:custGeom>
              <a:avLst/>
              <a:gdLst/>
              <a:ahLst/>
              <a:cxnLst/>
              <a:rect l="l" t="t" r="r" b="b"/>
              <a:pathLst>
                <a:path w="28" h="73" extrusionOk="0">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6" name="Google Shape;776;p14"/>
            <p:cNvSpPr/>
            <p:nvPr/>
          </p:nvSpPr>
          <p:spPr>
            <a:xfrm>
              <a:off x="4159658" y="1649467"/>
              <a:ext cx="234950" cy="395287"/>
            </a:xfrm>
            <a:custGeom>
              <a:avLst/>
              <a:gdLst/>
              <a:ahLst/>
              <a:cxnLst/>
              <a:rect l="l" t="t" r="r" b="b"/>
              <a:pathLst>
                <a:path w="531" h="757" extrusionOk="0">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7" name="Google Shape;777;p14"/>
            <p:cNvSpPr/>
            <p:nvPr/>
          </p:nvSpPr>
          <p:spPr>
            <a:xfrm>
              <a:off x="4297770" y="1963792"/>
              <a:ext cx="26988" cy="57150"/>
            </a:xfrm>
            <a:custGeom>
              <a:avLst/>
              <a:gdLst/>
              <a:ahLst/>
              <a:cxnLst/>
              <a:rect l="l" t="t" r="r" b="b"/>
              <a:pathLst>
                <a:path w="60" h="51" extrusionOk="0">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8" name="Google Shape;778;p14"/>
            <p:cNvSpPr/>
            <p:nvPr/>
          </p:nvSpPr>
          <p:spPr>
            <a:xfrm>
              <a:off x="3742145" y="2125717"/>
              <a:ext cx="28575" cy="57150"/>
            </a:xfrm>
            <a:custGeom>
              <a:avLst/>
              <a:gdLst/>
              <a:ahLst/>
              <a:cxnLst/>
              <a:rect l="l" t="t" r="r" b="b"/>
              <a:pathLst>
                <a:path w="66" h="51" extrusionOk="0">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9" name="Google Shape;779;p14"/>
            <p:cNvSpPr/>
            <p:nvPr/>
          </p:nvSpPr>
          <p:spPr>
            <a:xfrm>
              <a:off x="4694645" y="2654354"/>
              <a:ext cx="50800" cy="57150"/>
            </a:xfrm>
            <a:custGeom>
              <a:avLst/>
              <a:gdLst/>
              <a:ahLst/>
              <a:cxnLst/>
              <a:rect l="l" t="t" r="r" b="b"/>
              <a:pathLst>
                <a:path w="113" h="74" extrusionOk="0">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0" name="Google Shape;780;p14"/>
            <p:cNvSpPr/>
            <p:nvPr/>
          </p:nvSpPr>
          <p:spPr>
            <a:xfrm>
              <a:off x="4302533" y="3446517"/>
              <a:ext cx="325437" cy="244475"/>
            </a:xfrm>
            <a:custGeom>
              <a:avLst/>
              <a:gdLst/>
              <a:ahLst/>
              <a:cxnLst/>
              <a:rect l="l" t="t" r="r" b="b"/>
              <a:pathLst>
                <a:path w="746" h="469" extrusionOk="0">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1" name="Google Shape;781;p14"/>
            <p:cNvSpPr/>
            <p:nvPr/>
          </p:nvSpPr>
          <p:spPr>
            <a:xfrm>
              <a:off x="4239033" y="3614792"/>
              <a:ext cx="500062" cy="552450"/>
            </a:xfrm>
            <a:custGeom>
              <a:avLst/>
              <a:gdLst/>
              <a:ahLst/>
              <a:cxnLst/>
              <a:rect l="l" t="t" r="r" b="b"/>
              <a:pathLst>
                <a:path w="1145" h="1053" extrusionOk="0">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2" name="Google Shape;782;p14"/>
            <p:cNvSpPr/>
            <p:nvPr/>
          </p:nvSpPr>
          <p:spPr>
            <a:xfrm>
              <a:off x="4175533" y="3714804"/>
              <a:ext cx="55562" cy="55563"/>
            </a:xfrm>
            <a:custGeom>
              <a:avLst/>
              <a:gdLst/>
              <a:ahLst/>
              <a:cxnLst/>
              <a:rect l="l" t="t" r="r" b="b"/>
              <a:pathLst>
                <a:path w="125" h="81" extrusionOk="0">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3" name="Google Shape;783;p14"/>
            <p:cNvSpPr/>
            <p:nvPr/>
          </p:nvSpPr>
          <p:spPr>
            <a:xfrm>
              <a:off x="4158070" y="3714804"/>
              <a:ext cx="152400" cy="201613"/>
            </a:xfrm>
            <a:custGeom>
              <a:avLst/>
              <a:gdLst/>
              <a:ahLst/>
              <a:cxnLst/>
              <a:rect l="l" t="t" r="r" b="b"/>
              <a:pathLst>
                <a:path w="355" h="388" extrusionOk="0">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4" name="Google Shape;784;p14"/>
            <p:cNvSpPr/>
            <p:nvPr/>
          </p:nvSpPr>
          <p:spPr>
            <a:xfrm>
              <a:off x="4691470" y="4119617"/>
              <a:ext cx="260350" cy="520700"/>
            </a:xfrm>
            <a:custGeom>
              <a:avLst/>
              <a:gdLst/>
              <a:ahLst/>
              <a:cxnLst/>
              <a:rect l="l" t="t" r="r" b="b"/>
              <a:pathLst>
                <a:path w="599" h="993" extrusionOk="0">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5" name="Google Shape;785;p14"/>
            <p:cNvSpPr/>
            <p:nvPr/>
          </p:nvSpPr>
          <p:spPr>
            <a:xfrm>
              <a:off x="4426358" y="4359329"/>
              <a:ext cx="238125" cy="287338"/>
            </a:xfrm>
            <a:custGeom>
              <a:avLst/>
              <a:gdLst/>
              <a:ahLst/>
              <a:cxnLst/>
              <a:rect l="l" t="t" r="r" b="b"/>
              <a:pathLst>
                <a:path w="545" h="549" extrusionOk="0">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6" name="Google Shape;786;p14"/>
            <p:cNvSpPr/>
            <p:nvPr/>
          </p:nvSpPr>
          <p:spPr>
            <a:xfrm>
              <a:off x="4999445" y="4160892"/>
              <a:ext cx="196850" cy="434975"/>
            </a:xfrm>
            <a:custGeom>
              <a:avLst/>
              <a:gdLst/>
              <a:ahLst/>
              <a:cxnLst/>
              <a:rect l="l" t="t" r="r" b="b"/>
              <a:pathLst>
                <a:path w="452" h="832" extrusionOk="0">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7" name="Google Shape;787;p14"/>
            <p:cNvSpPr/>
            <p:nvPr/>
          </p:nvSpPr>
          <p:spPr>
            <a:xfrm>
              <a:off x="4675595" y="3859267"/>
              <a:ext cx="36513" cy="66675"/>
            </a:xfrm>
            <a:custGeom>
              <a:avLst/>
              <a:gdLst/>
              <a:ahLst/>
              <a:cxnLst/>
              <a:rect l="l" t="t" r="r" b="b"/>
              <a:pathLst>
                <a:path w="80" h="126" extrusionOk="0">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8" name="Google Shape;788;p14"/>
            <p:cNvSpPr/>
            <p:nvPr/>
          </p:nvSpPr>
          <p:spPr>
            <a:xfrm>
              <a:off x="4664483" y="3819579"/>
              <a:ext cx="55562" cy="60325"/>
            </a:xfrm>
            <a:custGeom>
              <a:avLst/>
              <a:gdLst/>
              <a:ahLst/>
              <a:cxnLst/>
              <a:rect l="l" t="t" r="r" b="b"/>
              <a:pathLst>
                <a:path w="124" h="117" extrusionOk="0">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9" name="Google Shape;789;p14"/>
            <p:cNvSpPr/>
            <p:nvPr/>
          </p:nvSpPr>
          <p:spPr>
            <a:xfrm>
              <a:off x="4974045" y="2519417"/>
              <a:ext cx="503238" cy="473075"/>
            </a:xfrm>
            <a:custGeom>
              <a:avLst/>
              <a:gdLst/>
              <a:ahLst/>
              <a:cxnLst/>
              <a:rect l="l" t="t" r="r" b="b"/>
              <a:pathLst>
                <a:path w="1156" h="900" extrusionOk="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0" name="Google Shape;790;p14"/>
            <p:cNvSpPr/>
            <p:nvPr/>
          </p:nvSpPr>
          <p:spPr>
            <a:xfrm>
              <a:off x="4997858" y="3176642"/>
              <a:ext cx="247650" cy="228600"/>
            </a:xfrm>
            <a:custGeom>
              <a:avLst/>
              <a:gdLst/>
              <a:ahLst/>
              <a:cxnLst/>
              <a:rect l="l" t="t" r="r" b="b"/>
              <a:pathLst>
                <a:path w="571" h="443" extrusionOk="0">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1" name="Google Shape;791;p14"/>
            <p:cNvSpPr/>
            <p:nvPr/>
          </p:nvSpPr>
          <p:spPr>
            <a:xfrm>
              <a:off x="5193120" y="2951217"/>
              <a:ext cx="120650" cy="120650"/>
            </a:xfrm>
            <a:custGeom>
              <a:avLst/>
              <a:gdLst/>
              <a:ahLst/>
              <a:cxnLst/>
              <a:rect l="l" t="t" r="r" b="b"/>
              <a:pathLst>
                <a:path w="286" h="228" extrusionOk="0">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2" name="Google Shape;792;p14"/>
            <p:cNvSpPr/>
            <p:nvPr/>
          </p:nvSpPr>
          <p:spPr>
            <a:xfrm>
              <a:off x="4880383" y="2603554"/>
              <a:ext cx="222250" cy="263525"/>
            </a:xfrm>
            <a:custGeom>
              <a:avLst/>
              <a:gdLst/>
              <a:ahLst/>
              <a:cxnLst/>
              <a:rect l="l" t="t" r="r" b="b"/>
              <a:pathLst>
                <a:path w="524" h="505" extrusionOk="0">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FFFFFF"/>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3" name="Google Shape;793;p14"/>
            <p:cNvSpPr/>
            <p:nvPr/>
          </p:nvSpPr>
          <p:spPr>
            <a:xfrm>
              <a:off x="5380445" y="2563867"/>
              <a:ext cx="331788" cy="290512"/>
            </a:xfrm>
            <a:custGeom>
              <a:avLst/>
              <a:gdLst/>
              <a:ahLst/>
              <a:cxnLst/>
              <a:rect l="l" t="t" r="r" b="b"/>
              <a:pathLst>
                <a:path w="764" h="555" extrusionOk="0">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4" name="Google Shape;794;p14"/>
            <p:cNvSpPr/>
            <p:nvPr/>
          </p:nvSpPr>
          <p:spPr>
            <a:xfrm>
              <a:off x="5412195" y="2613079"/>
              <a:ext cx="365125" cy="423863"/>
            </a:xfrm>
            <a:custGeom>
              <a:avLst/>
              <a:gdLst/>
              <a:ahLst/>
              <a:cxnLst/>
              <a:rect l="l" t="t" r="r" b="b"/>
              <a:pathLst>
                <a:path w="831" h="812" extrusionOk="0">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5" name="Google Shape;795;p14"/>
            <p:cNvSpPr/>
            <p:nvPr/>
          </p:nvSpPr>
          <p:spPr>
            <a:xfrm>
              <a:off x="6202770" y="2881367"/>
              <a:ext cx="220663" cy="585787"/>
            </a:xfrm>
            <a:custGeom>
              <a:avLst/>
              <a:gdLst/>
              <a:ahLst/>
              <a:cxnLst/>
              <a:rect l="l" t="t" r="r" b="b"/>
              <a:pathLst>
                <a:path w="505" h="1121" extrusionOk="0">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6" name="Google Shape;796;p14"/>
            <p:cNvSpPr/>
            <p:nvPr/>
          </p:nvSpPr>
          <p:spPr>
            <a:xfrm>
              <a:off x="3526245" y="3390954"/>
              <a:ext cx="80963" cy="58738"/>
            </a:xfrm>
            <a:custGeom>
              <a:avLst/>
              <a:gdLst/>
              <a:ahLst/>
              <a:cxnLst/>
              <a:rect l="l" t="t" r="r" b="b"/>
              <a:pathLst>
                <a:path w="180" h="112" extrusionOk="0">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7" name="Google Shape;797;p14"/>
            <p:cNvSpPr/>
            <p:nvPr/>
          </p:nvSpPr>
          <p:spPr>
            <a:xfrm>
              <a:off x="3610383" y="3473504"/>
              <a:ext cx="74612" cy="100013"/>
            </a:xfrm>
            <a:custGeom>
              <a:avLst/>
              <a:gdLst/>
              <a:ahLst/>
              <a:cxnLst/>
              <a:rect l="l" t="t" r="r" b="b"/>
              <a:pathLst>
                <a:path w="173" h="192" extrusionOk="0">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8" name="Google Shape;798;p14"/>
            <p:cNvSpPr/>
            <p:nvPr/>
          </p:nvSpPr>
          <p:spPr>
            <a:xfrm>
              <a:off x="3653245" y="3524304"/>
              <a:ext cx="104775" cy="131763"/>
            </a:xfrm>
            <a:custGeom>
              <a:avLst/>
              <a:gdLst/>
              <a:ahLst/>
              <a:cxnLst/>
              <a:rect l="l" t="t" r="r" b="b"/>
              <a:pathLst>
                <a:path w="233" h="252" extrusionOk="0">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9" name="Google Shape;799;p14"/>
            <p:cNvSpPr/>
            <p:nvPr/>
          </p:nvSpPr>
          <p:spPr>
            <a:xfrm>
              <a:off x="3867558" y="3443342"/>
              <a:ext cx="104775" cy="201612"/>
            </a:xfrm>
            <a:custGeom>
              <a:avLst/>
              <a:gdLst/>
              <a:ahLst/>
              <a:cxnLst/>
              <a:rect l="l" t="t" r="r" b="b"/>
              <a:pathLst>
                <a:path w="246" h="380" extrusionOk="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0" name="Google Shape;800;p14"/>
            <p:cNvSpPr/>
            <p:nvPr/>
          </p:nvSpPr>
          <p:spPr>
            <a:xfrm>
              <a:off x="3519895" y="3359204"/>
              <a:ext cx="87313" cy="58738"/>
            </a:xfrm>
            <a:custGeom>
              <a:avLst/>
              <a:gdLst/>
              <a:ahLst/>
              <a:cxnLst/>
              <a:rect l="l" t="t" r="r" b="b"/>
              <a:pathLst>
                <a:path w="193" h="38" extrusionOk="0">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1" name="Google Shape;801;p14"/>
            <p:cNvSpPr/>
            <p:nvPr/>
          </p:nvSpPr>
          <p:spPr>
            <a:xfrm>
              <a:off x="3945345" y="3436992"/>
              <a:ext cx="42863" cy="155575"/>
            </a:xfrm>
            <a:custGeom>
              <a:avLst/>
              <a:gdLst/>
              <a:ahLst/>
              <a:cxnLst/>
              <a:rect l="l" t="t" r="r" b="b"/>
              <a:pathLst>
                <a:path w="99" h="301" extrusionOk="0">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2" name="Google Shape;802;p14"/>
            <p:cNvSpPr/>
            <p:nvPr/>
          </p:nvSpPr>
          <p:spPr>
            <a:xfrm>
              <a:off x="3970745" y="3398892"/>
              <a:ext cx="76200" cy="188912"/>
            </a:xfrm>
            <a:custGeom>
              <a:avLst/>
              <a:gdLst/>
              <a:ahLst/>
              <a:cxnLst/>
              <a:rect l="l" t="t" r="r" b="b"/>
              <a:pathLst>
                <a:path w="173" h="357" extrusionOk="0">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3" name="Google Shape;803;p14"/>
            <p:cNvSpPr/>
            <p:nvPr/>
          </p:nvSpPr>
          <p:spPr>
            <a:xfrm>
              <a:off x="4699408" y="4603804"/>
              <a:ext cx="25400" cy="60325"/>
            </a:xfrm>
            <a:custGeom>
              <a:avLst/>
              <a:gdLst/>
              <a:ahLst/>
              <a:cxnLst/>
              <a:rect l="l" t="t" r="r" b="b"/>
              <a:pathLst>
                <a:path w="50" h="74" extrusionOk="0">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4" name="Google Shape;804;p14"/>
            <p:cNvSpPr/>
            <p:nvPr/>
          </p:nvSpPr>
          <p:spPr>
            <a:xfrm>
              <a:off x="4594633" y="4700642"/>
              <a:ext cx="61912" cy="57150"/>
            </a:xfrm>
            <a:custGeom>
              <a:avLst/>
              <a:gdLst/>
              <a:ahLst/>
              <a:cxnLst/>
              <a:rect l="l" t="t" r="r" b="b"/>
              <a:pathLst>
                <a:path w="135" h="98" extrusionOk="0">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5" name="Google Shape;805;p14"/>
            <p:cNvSpPr/>
            <p:nvPr/>
          </p:nvSpPr>
          <p:spPr>
            <a:xfrm>
              <a:off x="6812370" y="2414642"/>
              <a:ext cx="120650" cy="171450"/>
            </a:xfrm>
            <a:custGeom>
              <a:avLst/>
              <a:gdLst/>
              <a:ahLst/>
              <a:cxnLst/>
              <a:rect l="l" t="t" r="r" b="b"/>
              <a:pathLst>
                <a:path w="266" h="326" extrusionOk="0">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6" name="Google Shape;806;p14"/>
            <p:cNvSpPr/>
            <p:nvPr/>
          </p:nvSpPr>
          <p:spPr>
            <a:xfrm>
              <a:off x="5883683" y="2828979"/>
              <a:ext cx="206375" cy="123825"/>
            </a:xfrm>
            <a:custGeom>
              <a:avLst/>
              <a:gdLst/>
              <a:ahLst/>
              <a:cxnLst/>
              <a:rect l="l" t="t" r="r" b="b"/>
              <a:pathLst>
                <a:path w="471" h="237" extrusionOk="0">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7" name="Google Shape;807;p14"/>
            <p:cNvSpPr/>
            <p:nvPr/>
          </p:nvSpPr>
          <p:spPr>
            <a:xfrm>
              <a:off x="6099583" y="2884542"/>
              <a:ext cx="73025" cy="65087"/>
            </a:xfrm>
            <a:custGeom>
              <a:avLst/>
              <a:gdLst/>
              <a:ahLst/>
              <a:cxnLst/>
              <a:rect l="l" t="t" r="r" b="b"/>
              <a:pathLst>
                <a:path w="167" h="123" extrusionOk="0">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8" name="Google Shape;808;p14"/>
            <p:cNvSpPr/>
            <p:nvPr/>
          </p:nvSpPr>
          <p:spPr>
            <a:xfrm>
              <a:off x="6090058" y="2955979"/>
              <a:ext cx="133350" cy="166688"/>
            </a:xfrm>
            <a:custGeom>
              <a:avLst/>
              <a:gdLst/>
              <a:ahLst/>
              <a:cxnLst/>
              <a:rect l="l" t="t" r="r" b="b"/>
              <a:pathLst>
                <a:path w="306" h="321" extrusionOk="0">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9" name="Google Shape;809;p14"/>
            <p:cNvSpPr/>
            <p:nvPr/>
          </p:nvSpPr>
          <p:spPr>
            <a:xfrm>
              <a:off x="6407558" y="3071867"/>
              <a:ext cx="201612" cy="269875"/>
            </a:xfrm>
            <a:custGeom>
              <a:avLst/>
              <a:gdLst/>
              <a:ahLst/>
              <a:cxnLst/>
              <a:rect l="l" t="t" r="r" b="b"/>
              <a:pathLst>
                <a:path w="471" h="518" extrusionOk="0">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0" name="Google Shape;810;p14"/>
            <p:cNvSpPr/>
            <p:nvPr/>
          </p:nvSpPr>
          <p:spPr>
            <a:xfrm>
              <a:off x="6490108" y="3322692"/>
              <a:ext cx="133350" cy="130175"/>
            </a:xfrm>
            <a:custGeom>
              <a:avLst/>
              <a:gdLst/>
              <a:ahLst/>
              <a:cxnLst/>
              <a:rect l="l" t="t" r="r" b="b"/>
              <a:pathLst>
                <a:path w="293" h="246" extrusionOk="0">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1" name="Google Shape;811;p14"/>
            <p:cNvSpPr/>
            <p:nvPr/>
          </p:nvSpPr>
          <p:spPr>
            <a:xfrm>
              <a:off x="6891745" y="2559104"/>
              <a:ext cx="85725" cy="130175"/>
            </a:xfrm>
            <a:custGeom>
              <a:avLst/>
              <a:gdLst/>
              <a:ahLst/>
              <a:cxnLst/>
              <a:rect l="l" t="t" r="r" b="b"/>
              <a:pathLst>
                <a:path w="200" h="246" extrusionOk="0">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2" name="Google Shape;812;p14"/>
            <p:cNvSpPr/>
            <p:nvPr/>
          </p:nvSpPr>
          <p:spPr>
            <a:xfrm>
              <a:off x="7460070" y="3856092"/>
              <a:ext cx="231775" cy="254000"/>
            </a:xfrm>
            <a:custGeom>
              <a:avLst/>
              <a:gdLst/>
              <a:ahLst/>
              <a:cxnLst/>
              <a:rect l="l" t="t" r="r" b="b"/>
              <a:pathLst>
                <a:path w="538" h="487" extrusionOk="0">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3" name="Google Shape;813;p14"/>
            <p:cNvSpPr/>
            <p:nvPr/>
          </p:nvSpPr>
          <p:spPr>
            <a:xfrm>
              <a:off x="7652158" y="3840217"/>
              <a:ext cx="106362" cy="128587"/>
            </a:xfrm>
            <a:custGeom>
              <a:avLst/>
              <a:gdLst/>
              <a:ahLst/>
              <a:cxnLst/>
              <a:rect l="l" t="t" r="r" b="b"/>
              <a:pathLst>
                <a:path w="253" h="246" extrusionOk="0">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4" name="Google Shape;814;p14"/>
            <p:cNvSpPr/>
            <p:nvPr/>
          </p:nvSpPr>
          <p:spPr>
            <a:xfrm>
              <a:off x="5928133" y="3473504"/>
              <a:ext cx="63500" cy="119063"/>
            </a:xfrm>
            <a:custGeom>
              <a:avLst/>
              <a:gdLst/>
              <a:ahLst/>
              <a:cxnLst/>
              <a:rect l="l" t="t" r="r" b="b"/>
              <a:pathLst>
                <a:path w="141" h="228" extrusionOk="0">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815" name="Google Shape;815;p14"/>
            <p:cNvGrpSpPr/>
            <p:nvPr/>
          </p:nvGrpSpPr>
          <p:grpSpPr>
            <a:xfrm>
              <a:off x="6867933" y="3184579"/>
              <a:ext cx="233362" cy="439738"/>
              <a:chOff x="5062" y="2295"/>
              <a:chExt cx="177" cy="279"/>
            </a:xfrm>
          </p:grpSpPr>
          <p:sp>
            <p:nvSpPr>
              <p:cNvPr id="816" name="Google Shape;816;p14"/>
              <p:cNvSpPr/>
              <p:nvPr/>
            </p:nvSpPr>
            <p:spPr>
              <a:xfrm>
                <a:off x="5154" y="2449"/>
                <a:ext cx="19" cy="37"/>
              </a:xfrm>
              <a:custGeom>
                <a:avLst/>
                <a:gdLst/>
                <a:ahLst/>
                <a:cxnLst/>
                <a:rect l="l" t="t" r="r" b="b"/>
                <a:pathLst>
                  <a:path w="60" h="110" extrusionOk="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17" name="Google Shape;817;p14"/>
              <p:cNvSpPr/>
              <p:nvPr/>
            </p:nvSpPr>
            <p:spPr>
              <a:xfrm>
                <a:off x="5189" y="2422"/>
                <a:ext cx="24" cy="25"/>
              </a:xfrm>
              <a:custGeom>
                <a:avLst/>
                <a:gdLst/>
                <a:ahLst/>
                <a:cxnLst/>
                <a:rect l="l" t="t" r="r" b="b"/>
                <a:pathLst>
                  <a:path w="72" h="75" extrusionOk="0">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18" name="Google Shape;818;p14"/>
              <p:cNvSpPr/>
              <p:nvPr/>
            </p:nvSpPr>
            <p:spPr>
              <a:xfrm>
                <a:off x="5160" y="2389"/>
                <a:ext cx="5" cy="16"/>
              </a:xfrm>
              <a:custGeom>
                <a:avLst/>
                <a:gdLst/>
                <a:ahLst/>
                <a:cxnLst/>
                <a:rect l="l" t="t" r="r" b="b"/>
                <a:pathLst>
                  <a:path w="15" h="49" extrusionOk="0">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19" name="Google Shape;819;p14"/>
              <p:cNvSpPr/>
              <p:nvPr/>
            </p:nvSpPr>
            <p:spPr>
              <a:xfrm>
                <a:off x="5139" y="2387"/>
                <a:ext cx="15" cy="13"/>
              </a:xfrm>
              <a:custGeom>
                <a:avLst/>
                <a:gdLst/>
                <a:ahLst/>
                <a:cxnLst/>
                <a:rect l="l" t="t" r="r" b="b"/>
                <a:pathLst>
                  <a:path w="47" h="40" extrusionOk="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0" name="Google Shape;820;p14"/>
              <p:cNvSpPr/>
              <p:nvPr/>
            </p:nvSpPr>
            <p:spPr>
              <a:xfrm>
                <a:off x="5184" y="2465"/>
                <a:ext cx="13" cy="10"/>
              </a:xfrm>
              <a:custGeom>
                <a:avLst/>
                <a:gdLst/>
                <a:ahLst/>
                <a:cxnLst/>
                <a:rect l="l" t="t" r="r" b="b"/>
                <a:pathLst>
                  <a:path w="39" h="31" extrusionOk="0">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1" name="Google Shape;821;p14"/>
              <p:cNvSpPr/>
              <p:nvPr/>
            </p:nvSpPr>
            <p:spPr>
              <a:xfrm>
                <a:off x="5172" y="2410"/>
                <a:ext cx="10" cy="6"/>
              </a:xfrm>
              <a:custGeom>
                <a:avLst/>
                <a:gdLst/>
                <a:ahLst/>
                <a:cxnLst/>
                <a:rect l="l" t="t" r="r" b="b"/>
                <a:pathLst>
                  <a:path w="34" h="19" extrusionOk="0">
                    <a:moveTo>
                      <a:pt x="0" y="0"/>
                    </a:moveTo>
                    <a:lnTo>
                      <a:pt x="34" y="19"/>
                    </a:lnTo>
                    <a:lnTo>
                      <a:pt x="34" y="0"/>
                    </a:lnTo>
                    <a:lnTo>
                      <a:pt x="24" y="0"/>
                    </a:lnTo>
                    <a:lnTo>
                      <a:pt x="14" y="0"/>
                    </a:lnTo>
                    <a:lnTo>
                      <a:pt x="7" y="0"/>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2" name="Google Shape;822;p14"/>
              <p:cNvSpPr/>
              <p:nvPr/>
            </p:nvSpPr>
            <p:spPr>
              <a:xfrm>
                <a:off x="5180" y="2471"/>
                <a:ext cx="6" cy="4"/>
              </a:xfrm>
              <a:custGeom>
                <a:avLst/>
                <a:gdLst/>
                <a:ahLst/>
                <a:cxnLst/>
                <a:rect l="l" t="t" r="r" b="b"/>
                <a:pathLst>
                  <a:path w="19" h="12" extrusionOk="0">
                    <a:moveTo>
                      <a:pt x="0" y="0"/>
                    </a:moveTo>
                    <a:lnTo>
                      <a:pt x="19" y="12"/>
                    </a:lnTo>
                    <a:lnTo>
                      <a:pt x="13" y="6"/>
                    </a:lnTo>
                    <a:lnTo>
                      <a:pt x="6"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3" name="Google Shape;823;p14"/>
              <p:cNvSpPr/>
              <p:nvPr/>
            </p:nvSpPr>
            <p:spPr>
              <a:xfrm>
                <a:off x="5062" y="2447"/>
                <a:ext cx="42" cy="55"/>
              </a:xfrm>
              <a:custGeom>
                <a:avLst/>
                <a:gdLst/>
                <a:ahLst/>
                <a:cxnLst/>
                <a:rect l="l" t="t" r="r" b="b"/>
                <a:pathLst>
                  <a:path w="126" h="166" extrusionOk="0">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4" name="Google Shape;824;p14"/>
              <p:cNvSpPr/>
              <p:nvPr/>
            </p:nvSpPr>
            <p:spPr>
              <a:xfrm>
                <a:off x="5154" y="2465"/>
                <a:ext cx="85" cy="86"/>
              </a:xfrm>
              <a:custGeom>
                <a:avLst/>
                <a:gdLst/>
                <a:ahLst/>
                <a:cxnLst/>
                <a:rect l="l" t="t" r="r" b="b"/>
                <a:pathLst>
                  <a:path w="259" h="259" extrusionOk="0">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5" name="Google Shape;825;p14"/>
              <p:cNvSpPr/>
              <p:nvPr/>
            </p:nvSpPr>
            <p:spPr>
              <a:xfrm>
                <a:off x="5104" y="2395"/>
                <a:ext cx="23" cy="31"/>
              </a:xfrm>
              <a:custGeom>
                <a:avLst/>
                <a:gdLst/>
                <a:ahLst/>
                <a:cxnLst/>
                <a:rect l="l" t="t" r="r" b="b"/>
                <a:pathLst>
                  <a:path w="72" h="92" extrusionOk="0">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6" name="Google Shape;826;p14"/>
              <p:cNvSpPr/>
              <p:nvPr/>
            </p:nvSpPr>
            <p:spPr>
              <a:xfrm>
                <a:off x="5143" y="2436"/>
                <a:ext cx="16" cy="21"/>
              </a:xfrm>
              <a:custGeom>
                <a:avLst/>
                <a:gdLst/>
                <a:ahLst/>
                <a:cxnLst/>
                <a:rect l="l" t="t" r="r" b="b"/>
                <a:pathLst>
                  <a:path w="46" h="62" extrusionOk="0">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7" name="Google Shape;827;p14"/>
              <p:cNvSpPr/>
              <p:nvPr/>
            </p:nvSpPr>
            <p:spPr>
              <a:xfrm>
                <a:off x="5089" y="2295"/>
                <a:ext cx="50" cy="98"/>
              </a:xfrm>
              <a:custGeom>
                <a:avLst/>
                <a:gdLst/>
                <a:ahLst/>
                <a:cxnLst/>
                <a:rect l="l" t="t" r="r" b="b"/>
                <a:pathLst>
                  <a:path w="152" h="296" extrusionOk="0">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8" name="Google Shape;828;p14"/>
              <p:cNvSpPr/>
              <p:nvPr/>
            </p:nvSpPr>
            <p:spPr>
              <a:xfrm>
                <a:off x="5189" y="2442"/>
                <a:ext cx="8" cy="13"/>
              </a:xfrm>
              <a:custGeom>
                <a:avLst/>
                <a:gdLst/>
                <a:ahLst/>
                <a:cxnLst/>
                <a:rect l="l" t="t" r="r" b="b"/>
                <a:pathLst>
                  <a:path w="26" h="38" extrusionOk="0">
                    <a:moveTo>
                      <a:pt x="26" y="38"/>
                    </a:moveTo>
                    <a:lnTo>
                      <a:pt x="26" y="0"/>
                    </a:lnTo>
                    <a:lnTo>
                      <a:pt x="21" y="1"/>
                    </a:lnTo>
                    <a:lnTo>
                      <a:pt x="13" y="4"/>
                    </a:lnTo>
                    <a:lnTo>
                      <a:pt x="6" y="8"/>
                    </a:lnTo>
                    <a:lnTo>
                      <a:pt x="0" y="13"/>
                    </a:lnTo>
                    <a:lnTo>
                      <a:pt x="18" y="30"/>
                    </a:lnTo>
                    <a:lnTo>
                      <a:pt x="26" y="3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9" name="Google Shape;829;p14"/>
              <p:cNvSpPr/>
              <p:nvPr/>
            </p:nvSpPr>
            <p:spPr>
              <a:xfrm>
                <a:off x="5165" y="2420"/>
                <a:ext cx="10" cy="10"/>
              </a:xfrm>
              <a:custGeom>
                <a:avLst/>
                <a:gdLst/>
                <a:ahLst/>
                <a:cxnLst/>
                <a:rect l="l" t="t" r="r" b="b"/>
                <a:pathLst>
                  <a:path w="34" h="31" extrusionOk="0">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0" name="Google Shape;830;p14"/>
              <p:cNvSpPr/>
              <p:nvPr/>
            </p:nvSpPr>
            <p:spPr>
              <a:xfrm>
                <a:off x="5139" y="2418"/>
                <a:ext cx="6" cy="12"/>
              </a:xfrm>
              <a:custGeom>
                <a:avLst/>
                <a:gdLst/>
                <a:ahLst/>
                <a:cxnLst/>
                <a:rect l="l" t="t" r="r" b="b"/>
                <a:pathLst>
                  <a:path w="20" h="37" extrusionOk="0">
                    <a:moveTo>
                      <a:pt x="0" y="6"/>
                    </a:moveTo>
                    <a:lnTo>
                      <a:pt x="0" y="37"/>
                    </a:lnTo>
                    <a:lnTo>
                      <a:pt x="7" y="33"/>
                    </a:lnTo>
                    <a:lnTo>
                      <a:pt x="20" y="30"/>
                    </a:lnTo>
                    <a:lnTo>
                      <a:pt x="20" y="0"/>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831" name="Google Shape;831;p14"/>
              <p:cNvCxnSpPr/>
              <p:nvPr/>
            </p:nvCxnSpPr>
            <p:spPr>
              <a:xfrm>
                <a:off x="5180" y="2449"/>
                <a:ext cx="1" cy="10"/>
              </a:xfrm>
              <a:prstGeom prst="straightConnector1">
                <a:avLst/>
              </a:prstGeom>
              <a:solidFill>
                <a:srgbClr val="336699"/>
              </a:solidFill>
              <a:ln w="9525" cap="flat" cmpd="sng">
                <a:solidFill>
                  <a:srgbClr val="FFFFFF"/>
                </a:solidFill>
                <a:prstDash val="solid"/>
                <a:round/>
                <a:headEnd type="none" w="med" len="med"/>
                <a:tailEnd type="none" w="med" len="med"/>
              </a:ln>
            </p:spPr>
          </p:cxnSp>
          <p:sp>
            <p:nvSpPr>
              <p:cNvPr id="832" name="Google Shape;832;p14"/>
              <p:cNvSpPr/>
              <p:nvPr/>
            </p:nvSpPr>
            <p:spPr>
              <a:xfrm>
                <a:off x="5180" y="2453"/>
                <a:ext cx="4" cy="6"/>
              </a:xfrm>
              <a:custGeom>
                <a:avLst/>
                <a:gdLst/>
                <a:ahLst/>
                <a:cxnLst/>
                <a:rect l="l" t="t" r="r" b="b"/>
                <a:pathLst>
                  <a:path w="13" h="18" extrusionOk="0">
                    <a:moveTo>
                      <a:pt x="0" y="18"/>
                    </a:moveTo>
                    <a:lnTo>
                      <a:pt x="1" y="13"/>
                    </a:lnTo>
                    <a:lnTo>
                      <a:pt x="3" y="9"/>
                    </a:lnTo>
                    <a:lnTo>
                      <a:pt x="7" y="4"/>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833" name="Google Shape;833;p14"/>
              <p:cNvCxnSpPr/>
              <p:nvPr/>
            </p:nvCxnSpPr>
            <p:spPr>
              <a:xfrm rot="10800000">
                <a:off x="5178" y="2447"/>
                <a:ext cx="6" cy="6"/>
              </a:xfrm>
              <a:prstGeom prst="straightConnector1">
                <a:avLst/>
              </a:prstGeom>
              <a:solidFill>
                <a:srgbClr val="336699"/>
              </a:solidFill>
              <a:ln w="9525" cap="flat" cmpd="sng">
                <a:solidFill>
                  <a:srgbClr val="FFFFFF"/>
                </a:solidFill>
                <a:prstDash val="solid"/>
                <a:round/>
                <a:headEnd type="none" w="med" len="med"/>
                <a:tailEnd type="none" w="med" len="med"/>
              </a:ln>
            </p:spPr>
          </p:cxnSp>
          <p:sp>
            <p:nvSpPr>
              <p:cNvPr id="834" name="Google Shape;834;p14"/>
              <p:cNvSpPr/>
              <p:nvPr/>
            </p:nvSpPr>
            <p:spPr>
              <a:xfrm>
                <a:off x="5116" y="2564"/>
                <a:ext cx="9" cy="10"/>
              </a:xfrm>
              <a:custGeom>
                <a:avLst/>
                <a:gdLst/>
                <a:ahLst/>
                <a:cxnLst/>
                <a:rect l="l" t="t" r="r" b="b"/>
                <a:pathLst>
                  <a:path w="27" h="31" extrusionOk="0">
                    <a:moveTo>
                      <a:pt x="0" y="0"/>
                    </a:moveTo>
                    <a:lnTo>
                      <a:pt x="20" y="31"/>
                    </a:lnTo>
                    <a:lnTo>
                      <a:pt x="27" y="1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5" name="Google Shape;835;p14"/>
              <p:cNvSpPr/>
              <p:nvPr/>
            </p:nvSpPr>
            <p:spPr>
              <a:xfrm>
                <a:off x="5119" y="2568"/>
                <a:ext cx="6" cy="1"/>
              </a:xfrm>
              <a:custGeom>
                <a:avLst/>
                <a:gdLst/>
                <a:ahLst/>
                <a:cxnLst/>
                <a:rect l="l" t="t" r="r" b="b"/>
                <a:pathLst>
                  <a:path w="20" h="1" extrusionOk="0">
                    <a:moveTo>
                      <a:pt x="20" y="0"/>
                    </a:moveTo>
                    <a:lnTo>
                      <a:pt x="10" y="0"/>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6" name="Google Shape;836;p14"/>
              <p:cNvSpPr/>
              <p:nvPr/>
            </p:nvSpPr>
            <p:spPr>
              <a:xfrm>
                <a:off x="5127" y="2557"/>
                <a:ext cx="12" cy="5"/>
              </a:xfrm>
              <a:custGeom>
                <a:avLst/>
                <a:gdLst/>
                <a:ahLst/>
                <a:cxnLst/>
                <a:rect l="l" t="t" r="r" b="b"/>
                <a:pathLst>
                  <a:path w="34" h="13" extrusionOk="0">
                    <a:moveTo>
                      <a:pt x="0" y="13"/>
                    </a:moveTo>
                    <a:lnTo>
                      <a:pt x="6" y="13"/>
                    </a:lnTo>
                    <a:lnTo>
                      <a:pt x="10" y="11"/>
                    </a:lnTo>
                    <a:lnTo>
                      <a:pt x="16" y="10"/>
                    </a:lnTo>
                    <a:lnTo>
                      <a:pt x="20" y="7"/>
                    </a:lnTo>
                    <a:lnTo>
                      <a:pt x="28" y="2"/>
                    </a:lnTo>
                    <a:lnTo>
                      <a:pt x="34" y="0"/>
                    </a:lnTo>
                    <a:lnTo>
                      <a:pt x="25" y="0"/>
                    </a:lnTo>
                    <a:lnTo>
                      <a:pt x="15"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7" name="Google Shape;837;p14"/>
              <p:cNvSpPr/>
              <p:nvPr/>
            </p:nvSpPr>
            <p:spPr>
              <a:xfrm>
                <a:off x="5127" y="2547"/>
                <a:ext cx="12" cy="6"/>
              </a:xfrm>
              <a:custGeom>
                <a:avLst/>
                <a:gdLst/>
                <a:ahLst/>
                <a:cxnLst/>
                <a:rect l="l" t="t" r="r" b="b"/>
                <a:pathLst>
                  <a:path w="34" h="18" extrusionOk="0">
                    <a:moveTo>
                      <a:pt x="34" y="18"/>
                    </a:moveTo>
                    <a:lnTo>
                      <a:pt x="34" y="0"/>
                    </a:lnTo>
                    <a:lnTo>
                      <a:pt x="28" y="0"/>
                    </a:lnTo>
                    <a:lnTo>
                      <a:pt x="20" y="0"/>
                    </a:lnTo>
                    <a:lnTo>
                      <a:pt x="10" y="0"/>
                    </a:lnTo>
                    <a:lnTo>
                      <a:pt x="0" y="0"/>
                    </a:lnTo>
                    <a:lnTo>
                      <a:pt x="34"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8" name="Google Shape;838;p14"/>
              <p:cNvSpPr/>
              <p:nvPr/>
            </p:nvSpPr>
            <p:spPr>
              <a:xfrm>
                <a:off x="5141" y="2535"/>
                <a:ext cx="20" cy="8"/>
              </a:xfrm>
              <a:custGeom>
                <a:avLst/>
                <a:gdLst/>
                <a:ahLst/>
                <a:cxnLst/>
                <a:rect l="l" t="t" r="r" b="b"/>
                <a:pathLst>
                  <a:path w="59" h="25" extrusionOk="0">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839" name="Google Shape;839;p14"/>
              <p:cNvCxnSpPr/>
              <p:nvPr/>
            </p:nvCxnSpPr>
            <p:spPr>
              <a:xfrm rot="10800000" flipH="1">
                <a:off x="5191" y="2516"/>
                <a:ext cx="6" cy="2"/>
              </a:xfrm>
              <a:prstGeom prst="straightConnector1">
                <a:avLst/>
              </a:prstGeom>
              <a:solidFill>
                <a:srgbClr val="336699"/>
              </a:solidFill>
              <a:ln w="9525" cap="flat" cmpd="sng">
                <a:solidFill>
                  <a:srgbClr val="FFFFFF"/>
                </a:solidFill>
                <a:prstDash val="solid"/>
                <a:round/>
                <a:headEnd type="none" w="med" len="med"/>
                <a:tailEnd type="none" w="med" len="med"/>
              </a:ln>
            </p:spPr>
          </p:cxnSp>
        </p:grpSp>
        <p:sp>
          <p:nvSpPr>
            <p:cNvPr id="840" name="Google Shape;840;p14"/>
            <p:cNvSpPr/>
            <p:nvPr/>
          </p:nvSpPr>
          <p:spPr>
            <a:xfrm>
              <a:off x="7212420" y="4003729"/>
              <a:ext cx="14288" cy="55563"/>
            </a:xfrm>
            <a:custGeom>
              <a:avLst/>
              <a:gdLst/>
              <a:ahLst/>
              <a:cxnLst/>
              <a:rect l="l" t="t" r="r" b="b"/>
              <a:pathLst>
                <a:path w="33" h="43" extrusionOk="0">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1" name="Google Shape;841;p14"/>
            <p:cNvSpPr/>
            <p:nvPr/>
          </p:nvSpPr>
          <p:spPr>
            <a:xfrm>
              <a:off x="7288620" y="3943404"/>
              <a:ext cx="22225" cy="58738"/>
            </a:xfrm>
            <a:custGeom>
              <a:avLst/>
              <a:gdLst/>
              <a:ahLst/>
              <a:cxnLst/>
              <a:rect l="l" t="t" r="r" b="b"/>
              <a:pathLst>
                <a:path w="54" h="92" extrusionOk="0">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2" name="Google Shape;842;p14"/>
            <p:cNvSpPr/>
            <p:nvPr/>
          </p:nvSpPr>
          <p:spPr>
            <a:xfrm>
              <a:off x="7336245" y="3822754"/>
              <a:ext cx="23813" cy="57150"/>
            </a:xfrm>
            <a:custGeom>
              <a:avLst/>
              <a:gdLst/>
              <a:ahLst/>
              <a:cxnLst/>
              <a:rect l="l" t="t" r="r" b="b"/>
              <a:pathLst>
                <a:path w="60" h="18" extrusionOk="0">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3" name="Google Shape;843;p14"/>
            <p:cNvSpPr/>
            <p:nvPr/>
          </p:nvSpPr>
          <p:spPr>
            <a:xfrm>
              <a:off x="7320370" y="3792592"/>
              <a:ext cx="25400" cy="57150"/>
            </a:xfrm>
            <a:custGeom>
              <a:avLst/>
              <a:gdLst/>
              <a:ahLst/>
              <a:cxnLst/>
              <a:rect l="l" t="t" r="r" b="b"/>
              <a:pathLst>
                <a:path w="66" h="18" extrusionOk="0">
                  <a:moveTo>
                    <a:pt x="0" y="18"/>
                  </a:moveTo>
                  <a:lnTo>
                    <a:pt x="66" y="18"/>
                  </a:lnTo>
                  <a:lnTo>
                    <a:pt x="52" y="13"/>
                  </a:lnTo>
                  <a:lnTo>
                    <a:pt x="40" y="7"/>
                  </a:lnTo>
                  <a:lnTo>
                    <a:pt x="35" y="4"/>
                  </a:lnTo>
                  <a:lnTo>
                    <a:pt x="29" y="2"/>
                  </a:lnTo>
                  <a:lnTo>
                    <a:pt x="25" y="1"/>
                  </a:lnTo>
                  <a:lnTo>
                    <a:pt x="19" y="0"/>
                  </a:lnTo>
                  <a:lnTo>
                    <a:pt x="0"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4" name="Google Shape;844;p14"/>
            <p:cNvSpPr/>
            <p:nvPr/>
          </p:nvSpPr>
          <p:spPr>
            <a:xfrm>
              <a:off x="7145745" y="3689404"/>
              <a:ext cx="7938" cy="57150"/>
            </a:xfrm>
            <a:custGeom>
              <a:avLst/>
              <a:gdLst/>
              <a:ahLst/>
              <a:cxnLst/>
              <a:rect l="l" t="t" r="r" b="b"/>
              <a:pathLst>
                <a:path w="17" h="42" extrusionOk="0">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5" name="Google Shape;845;p14"/>
            <p:cNvSpPr/>
            <p:nvPr/>
          </p:nvSpPr>
          <p:spPr>
            <a:xfrm>
              <a:off x="7072720" y="3824342"/>
              <a:ext cx="30163" cy="58737"/>
            </a:xfrm>
            <a:custGeom>
              <a:avLst/>
              <a:gdLst/>
              <a:ahLst/>
              <a:cxnLst/>
              <a:rect l="l" t="t" r="r" b="b"/>
              <a:pathLst>
                <a:path w="72" h="29" extrusionOk="0">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6" name="Google Shape;846;p14"/>
            <p:cNvSpPr/>
            <p:nvPr/>
          </p:nvSpPr>
          <p:spPr>
            <a:xfrm>
              <a:off x="7080658" y="4010079"/>
              <a:ext cx="19050" cy="55563"/>
            </a:xfrm>
            <a:custGeom>
              <a:avLst/>
              <a:gdLst/>
              <a:ahLst/>
              <a:cxnLst/>
              <a:rect l="l" t="t" r="r" b="b"/>
              <a:pathLst>
                <a:path w="46" h="37" extrusionOk="0">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7" name="Google Shape;847;p14"/>
            <p:cNvSpPr/>
            <p:nvPr/>
          </p:nvSpPr>
          <p:spPr>
            <a:xfrm>
              <a:off x="7193370" y="3829104"/>
              <a:ext cx="11113" cy="57150"/>
            </a:xfrm>
            <a:custGeom>
              <a:avLst/>
              <a:gdLst/>
              <a:ahLst/>
              <a:cxnLst/>
              <a:rect l="l" t="t" r="r" b="b"/>
              <a:pathLst>
                <a:path w="26" h="19" extrusionOk="0">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8" name="Google Shape;848;p14"/>
            <p:cNvSpPr/>
            <p:nvPr/>
          </p:nvSpPr>
          <p:spPr>
            <a:xfrm>
              <a:off x="7053670" y="3824342"/>
              <a:ext cx="19050" cy="58737"/>
            </a:xfrm>
            <a:custGeom>
              <a:avLst/>
              <a:gdLst/>
              <a:ahLst/>
              <a:cxnLst/>
              <a:rect l="l" t="t" r="r" b="b"/>
              <a:pathLst>
                <a:path w="43" h="31" extrusionOk="0">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9" name="Google Shape;849;p14"/>
            <p:cNvSpPr/>
            <p:nvPr/>
          </p:nvSpPr>
          <p:spPr>
            <a:xfrm>
              <a:off x="7098120" y="3871967"/>
              <a:ext cx="30163" cy="57150"/>
            </a:xfrm>
            <a:custGeom>
              <a:avLst/>
              <a:gdLst/>
              <a:ahLst/>
              <a:cxnLst/>
              <a:rect l="l" t="t" r="r" b="b"/>
              <a:pathLst>
                <a:path w="71" h="49" extrusionOk="0">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0" name="Google Shape;850;p14"/>
            <p:cNvSpPr/>
            <p:nvPr/>
          </p:nvSpPr>
          <p:spPr>
            <a:xfrm>
              <a:off x="6899683" y="4075167"/>
              <a:ext cx="46037" cy="58737"/>
            </a:xfrm>
            <a:custGeom>
              <a:avLst/>
              <a:gdLst/>
              <a:ahLst/>
              <a:cxnLst/>
              <a:rect l="l" t="t" r="r" b="b"/>
              <a:pathLst>
                <a:path w="112" h="26" extrusionOk="0">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1" name="Google Shape;851;p14"/>
            <p:cNvSpPr/>
            <p:nvPr/>
          </p:nvSpPr>
          <p:spPr>
            <a:xfrm>
              <a:off x="6998108" y="4113267"/>
              <a:ext cx="14287" cy="58737"/>
            </a:xfrm>
            <a:custGeom>
              <a:avLst/>
              <a:gdLst/>
              <a:ahLst/>
              <a:cxnLst/>
              <a:rect l="l" t="t" r="r" b="b"/>
              <a:pathLst>
                <a:path w="41" h="25" extrusionOk="0">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2" name="Google Shape;852;p14"/>
            <p:cNvSpPr/>
            <p:nvPr/>
          </p:nvSpPr>
          <p:spPr>
            <a:xfrm>
              <a:off x="6831420" y="4045004"/>
              <a:ext cx="36513" cy="55563"/>
            </a:xfrm>
            <a:custGeom>
              <a:avLst/>
              <a:gdLst/>
              <a:ahLst/>
              <a:cxnLst/>
              <a:rect l="l" t="t" r="r" b="b"/>
              <a:pathLst>
                <a:path w="81" h="31" extrusionOk="0">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3" name="Google Shape;853;p14"/>
            <p:cNvSpPr/>
            <p:nvPr/>
          </p:nvSpPr>
          <p:spPr>
            <a:xfrm>
              <a:off x="6875870" y="4030717"/>
              <a:ext cx="39688" cy="55562"/>
            </a:xfrm>
            <a:custGeom>
              <a:avLst/>
              <a:gdLst/>
              <a:ahLst/>
              <a:cxnLst/>
              <a:rect l="l" t="t" r="r" b="b"/>
              <a:pathLst>
                <a:path w="89" h="49" extrusionOk="0">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4" name="Google Shape;854;p14"/>
            <p:cNvSpPr/>
            <p:nvPr/>
          </p:nvSpPr>
          <p:spPr>
            <a:xfrm>
              <a:off x="6928258" y="4040242"/>
              <a:ext cx="36512" cy="58737"/>
            </a:xfrm>
            <a:custGeom>
              <a:avLst/>
              <a:gdLst/>
              <a:ahLst/>
              <a:cxnLst/>
              <a:rect l="l" t="t" r="r" b="b"/>
              <a:pathLst>
                <a:path w="86" h="46" extrusionOk="0">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5" name="Google Shape;855;p14"/>
            <p:cNvSpPr/>
            <p:nvPr/>
          </p:nvSpPr>
          <p:spPr>
            <a:xfrm>
              <a:off x="6980645" y="4045004"/>
              <a:ext cx="25400" cy="55563"/>
            </a:xfrm>
            <a:custGeom>
              <a:avLst/>
              <a:gdLst/>
              <a:ahLst/>
              <a:cxnLst/>
              <a:rect l="l" t="t" r="r" b="b"/>
              <a:pathLst>
                <a:path w="59" h="18" extrusionOk="0">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6" name="Google Shape;856;p14"/>
            <p:cNvSpPr/>
            <p:nvPr/>
          </p:nvSpPr>
          <p:spPr>
            <a:xfrm>
              <a:off x="7053670" y="4037067"/>
              <a:ext cx="1588" cy="55562"/>
            </a:xfrm>
            <a:custGeom>
              <a:avLst/>
              <a:gdLst/>
              <a:ahLst/>
              <a:cxnLst/>
              <a:rect l="l" t="t" r="r" b="b"/>
              <a:pathLst>
                <a:path w="4" h="19" extrusionOk="0">
                  <a:moveTo>
                    <a:pt x="4" y="19"/>
                  </a:moveTo>
                  <a:lnTo>
                    <a:pt x="4" y="0"/>
                  </a:lnTo>
                  <a:lnTo>
                    <a:pt x="2" y="1"/>
                  </a:lnTo>
                  <a:lnTo>
                    <a:pt x="1" y="3"/>
                  </a:lnTo>
                  <a:lnTo>
                    <a:pt x="0" y="6"/>
                  </a:lnTo>
                  <a:lnTo>
                    <a:pt x="0" y="10"/>
                  </a:lnTo>
                  <a:lnTo>
                    <a:pt x="0" y="14"/>
                  </a:lnTo>
                  <a:lnTo>
                    <a:pt x="1" y="16"/>
                  </a:lnTo>
                  <a:lnTo>
                    <a:pt x="2" y="19"/>
                  </a:lnTo>
                  <a:lnTo>
                    <a:pt x="4" y="1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7" name="Google Shape;857;p14"/>
            <p:cNvSpPr/>
            <p:nvPr/>
          </p:nvSpPr>
          <p:spPr>
            <a:xfrm>
              <a:off x="6628220" y="3851329"/>
              <a:ext cx="20638" cy="58738"/>
            </a:xfrm>
            <a:custGeom>
              <a:avLst/>
              <a:gdLst/>
              <a:ahLst/>
              <a:cxnLst/>
              <a:rect l="l" t="t" r="r" b="b"/>
              <a:pathLst>
                <a:path w="46" h="50" extrusionOk="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8" name="Google Shape;858;p14"/>
            <p:cNvSpPr/>
            <p:nvPr/>
          </p:nvSpPr>
          <p:spPr>
            <a:xfrm>
              <a:off x="6574245" y="3824342"/>
              <a:ext cx="30163" cy="58737"/>
            </a:xfrm>
            <a:custGeom>
              <a:avLst/>
              <a:gdLst/>
              <a:ahLst/>
              <a:cxnLst/>
              <a:rect l="l" t="t" r="r" b="b"/>
              <a:pathLst>
                <a:path w="66" h="80" extrusionOk="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9" name="Google Shape;859;p14"/>
            <p:cNvSpPr/>
            <p:nvPr/>
          </p:nvSpPr>
          <p:spPr>
            <a:xfrm>
              <a:off x="6409145" y="3808467"/>
              <a:ext cx="7938" cy="57150"/>
            </a:xfrm>
            <a:custGeom>
              <a:avLst/>
              <a:gdLst/>
              <a:ahLst/>
              <a:cxnLst/>
              <a:rect l="l" t="t" r="r" b="b"/>
              <a:pathLst>
                <a:path w="20" h="48" extrusionOk="0">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860" name="Google Shape;860;p14" descr="Horizontal dunkel"/>
            <p:cNvCxnSpPr/>
            <p:nvPr/>
          </p:nvCxnSpPr>
          <p:spPr>
            <a:xfrm>
              <a:off x="6434545" y="3844979"/>
              <a:ext cx="4763" cy="6350"/>
            </a:xfrm>
            <a:prstGeom prst="straightConnector1">
              <a:avLst/>
            </a:prstGeom>
            <a:noFill/>
            <a:ln w="9525" cap="flat" cmpd="sng">
              <a:solidFill>
                <a:srgbClr val="FFFFFF"/>
              </a:solidFill>
              <a:prstDash val="solid"/>
              <a:round/>
              <a:headEnd type="none" w="med" len="med"/>
              <a:tailEnd type="none" w="med" len="med"/>
            </a:ln>
          </p:spPr>
        </p:cxnSp>
        <p:sp>
          <p:nvSpPr>
            <p:cNvPr id="861" name="Google Shape;861;p14"/>
            <p:cNvSpPr/>
            <p:nvPr/>
          </p:nvSpPr>
          <p:spPr>
            <a:xfrm>
              <a:off x="6431370" y="3844979"/>
              <a:ext cx="7938" cy="57150"/>
            </a:xfrm>
            <a:custGeom>
              <a:avLst/>
              <a:gdLst/>
              <a:ahLst/>
              <a:cxnLst/>
              <a:rect l="l" t="t" r="r" b="b"/>
              <a:pathLst>
                <a:path w="20" h="12" extrusionOk="0">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2" name="Google Shape;862;p14"/>
            <p:cNvSpPr/>
            <p:nvPr/>
          </p:nvSpPr>
          <p:spPr>
            <a:xfrm>
              <a:off x="6332945" y="3689404"/>
              <a:ext cx="22225" cy="57150"/>
            </a:xfrm>
            <a:custGeom>
              <a:avLst/>
              <a:gdLst/>
              <a:ahLst/>
              <a:cxnLst/>
              <a:rect l="l" t="t" r="r" b="b"/>
              <a:pathLst>
                <a:path w="53" h="30" extrusionOk="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3" name="Google Shape;863;p14"/>
            <p:cNvSpPr/>
            <p:nvPr/>
          </p:nvSpPr>
          <p:spPr>
            <a:xfrm>
              <a:off x="6861583" y="4052942"/>
              <a:ext cx="11112" cy="57150"/>
            </a:xfrm>
            <a:custGeom>
              <a:avLst/>
              <a:gdLst/>
              <a:ahLst/>
              <a:cxnLst/>
              <a:rect l="l" t="t" r="r" b="b"/>
              <a:pathLst>
                <a:path w="33" h="31" extrusionOk="0">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4" name="Google Shape;864;p14"/>
            <p:cNvSpPr/>
            <p:nvPr/>
          </p:nvSpPr>
          <p:spPr>
            <a:xfrm>
              <a:off x="7377520" y="4010079"/>
              <a:ext cx="28575" cy="55563"/>
            </a:xfrm>
            <a:custGeom>
              <a:avLst/>
              <a:gdLst/>
              <a:ahLst/>
              <a:cxnLst/>
              <a:rect l="l" t="t" r="r" b="b"/>
              <a:pathLst>
                <a:path w="65" h="68" extrusionOk="0">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5" name="Google Shape;865;p14"/>
            <p:cNvSpPr/>
            <p:nvPr/>
          </p:nvSpPr>
          <p:spPr>
            <a:xfrm>
              <a:off x="6315483" y="3592567"/>
              <a:ext cx="274637" cy="368300"/>
            </a:xfrm>
            <a:custGeom>
              <a:avLst/>
              <a:gdLst/>
              <a:ahLst/>
              <a:cxnLst/>
              <a:rect l="l" t="t" r="r" b="b"/>
              <a:pathLst>
                <a:path w="625" h="694" extrusionOk="0">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6" name="Google Shape;866;p14"/>
            <p:cNvSpPr/>
            <p:nvPr/>
          </p:nvSpPr>
          <p:spPr>
            <a:xfrm>
              <a:off x="6656795" y="3641779"/>
              <a:ext cx="254000" cy="257175"/>
            </a:xfrm>
            <a:custGeom>
              <a:avLst/>
              <a:gdLst/>
              <a:ahLst/>
              <a:cxnLst/>
              <a:rect l="l" t="t" r="r" b="b"/>
              <a:pathLst>
                <a:path w="585" h="493" extrusionOk="0">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7" name="Google Shape;867;p14"/>
            <p:cNvSpPr/>
            <p:nvPr/>
          </p:nvSpPr>
          <p:spPr>
            <a:xfrm>
              <a:off x="7012395" y="4048179"/>
              <a:ext cx="92075" cy="57150"/>
            </a:xfrm>
            <a:custGeom>
              <a:avLst/>
              <a:gdLst/>
              <a:ahLst/>
              <a:cxnLst/>
              <a:rect l="l" t="t" r="r" b="b"/>
              <a:pathLst>
                <a:path w="212" h="105" extrusionOk="0">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8" name="Google Shape;868;p14"/>
            <p:cNvSpPr/>
            <p:nvPr/>
          </p:nvSpPr>
          <p:spPr>
            <a:xfrm>
              <a:off x="7128283" y="3714804"/>
              <a:ext cx="42862" cy="88900"/>
            </a:xfrm>
            <a:custGeom>
              <a:avLst/>
              <a:gdLst/>
              <a:ahLst/>
              <a:cxnLst/>
              <a:rect l="l" t="t" r="r" b="b"/>
              <a:pathLst>
                <a:path w="92" h="166" extrusionOk="0">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9" name="Google Shape;869;p14"/>
            <p:cNvSpPr/>
            <p:nvPr/>
          </p:nvSpPr>
          <p:spPr>
            <a:xfrm>
              <a:off x="7140983" y="3859267"/>
              <a:ext cx="71437" cy="55562"/>
            </a:xfrm>
            <a:custGeom>
              <a:avLst/>
              <a:gdLst/>
              <a:ahLst/>
              <a:cxnLst/>
              <a:rect l="l" t="t" r="r" b="b"/>
              <a:pathLst>
                <a:path w="166" h="62" extrusionOk="0">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0" name="Google Shape;870;p14"/>
            <p:cNvSpPr/>
            <p:nvPr/>
          </p:nvSpPr>
          <p:spPr>
            <a:xfrm>
              <a:off x="7217183" y="3783067"/>
              <a:ext cx="85725" cy="63500"/>
            </a:xfrm>
            <a:custGeom>
              <a:avLst/>
              <a:gdLst/>
              <a:ahLst/>
              <a:cxnLst/>
              <a:rect l="l" t="t" r="r" b="b"/>
              <a:pathLst>
                <a:path w="193" h="121" extrusionOk="0">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1" name="Google Shape;871;p14"/>
            <p:cNvSpPr/>
            <p:nvPr/>
          </p:nvSpPr>
          <p:spPr>
            <a:xfrm>
              <a:off x="6906033" y="3721154"/>
              <a:ext cx="166687" cy="230188"/>
            </a:xfrm>
            <a:custGeom>
              <a:avLst/>
              <a:gdLst/>
              <a:ahLst/>
              <a:cxnLst/>
              <a:rect l="l" t="t" r="r" b="b"/>
              <a:pathLst>
                <a:path w="379" h="437" extrusionOk="0">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2" name="Google Shape;872;p14"/>
            <p:cNvSpPr/>
            <p:nvPr/>
          </p:nvSpPr>
          <p:spPr>
            <a:xfrm>
              <a:off x="6571070" y="3962454"/>
              <a:ext cx="250825" cy="95250"/>
            </a:xfrm>
            <a:custGeom>
              <a:avLst/>
              <a:gdLst/>
              <a:ahLst/>
              <a:cxnLst/>
              <a:rect l="l" t="t" r="r" b="b"/>
              <a:pathLst>
                <a:path w="578" h="184" extrusionOk="0">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3" name="Google Shape;873;p14"/>
            <p:cNvSpPr/>
            <p:nvPr/>
          </p:nvSpPr>
          <p:spPr>
            <a:xfrm>
              <a:off x="7252108" y="3819579"/>
              <a:ext cx="214312" cy="252413"/>
            </a:xfrm>
            <a:custGeom>
              <a:avLst/>
              <a:gdLst/>
              <a:ahLst/>
              <a:cxnLst/>
              <a:rect l="l" t="t" r="r" b="b"/>
              <a:pathLst>
                <a:path w="491" h="481" extrusionOk="0">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4" name="Google Shape;874;p14"/>
            <p:cNvSpPr/>
            <p:nvPr/>
          </p:nvSpPr>
          <p:spPr>
            <a:xfrm>
              <a:off x="5783670" y="2651179"/>
              <a:ext cx="53975" cy="60325"/>
            </a:xfrm>
            <a:custGeom>
              <a:avLst/>
              <a:gdLst/>
              <a:ahLst/>
              <a:cxnLst/>
              <a:rect l="l" t="t" r="r" b="b"/>
              <a:pathLst>
                <a:path w="133" h="117" extrusionOk="0">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5" name="Google Shape;875;p14"/>
            <p:cNvSpPr/>
            <p:nvPr/>
          </p:nvSpPr>
          <p:spPr>
            <a:xfrm>
              <a:off x="4240620" y="2055867"/>
              <a:ext cx="220663" cy="177800"/>
            </a:xfrm>
            <a:custGeom>
              <a:avLst/>
              <a:gdLst/>
              <a:ahLst/>
              <a:cxnLst/>
              <a:rect l="l" t="t" r="r" b="b"/>
              <a:pathLst>
                <a:path w="505" h="339" extrusionOk="0">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6" name="Google Shape;876;p14"/>
            <p:cNvSpPr/>
            <p:nvPr/>
          </p:nvSpPr>
          <p:spPr>
            <a:xfrm>
              <a:off x="4304120" y="2260654"/>
              <a:ext cx="146050" cy="71438"/>
            </a:xfrm>
            <a:custGeom>
              <a:avLst/>
              <a:gdLst/>
              <a:ahLst/>
              <a:cxnLst/>
              <a:rect l="l" t="t" r="r" b="b"/>
              <a:pathLst>
                <a:path w="338" h="141" extrusionOk="0">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7" name="Google Shape;877;p14"/>
            <p:cNvSpPr/>
            <p:nvPr/>
          </p:nvSpPr>
          <p:spPr>
            <a:xfrm>
              <a:off x="4404133" y="1916167"/>
              <a:ext cx="111125" cy="65087"/>
            </a:xfrm>
            <a:custGeom>
              <a:avLst/>
              <a:gdLst/>
              <a:ahLst/>
              <a:cxnLst/>
              <a:rect l="l" t="t" r="r" b="b"/>
              <a:pathLst>
                <a:path w="259" h="129" extrusionOk="0">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8" name="Google Shape;878;p14"/>
            <p:cNvSpPr/>
            <p:nvPr/>
          </p:nvSpPr>
          <p:spPr>
            <a:xfrm>
              <a:off x="4416833" y="2263829"/>
              <a:ext cx="179387" cy="142875"/>
            </a:xfrm>
            <a:custGeom>
              <a:avLst/>
              <a:gdLst/>
              <a:ahLst/>
              <a:cxnLst/>
              <a:rect l="l" t="t" r="r" b="b"/>
              <a:pathLst>
                <a:path w="425" h="272" extrusionOk="0">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9" name="Google Shape;879;p14"/>
            <p:cNvSpPr/>
            <p:nvPr/>
          </p:nvSpPr>
          <p:spPr>
            <a:xfrm>
              <a:off x="2416583" y="3302054"/>
              <a:ext cx="14287" cy="55563"/>
            </a:xfrm>
            <a:custGeom>
              <a:avLst/>
              <a:gdLst/>
              <a:ahLst/>
              <a:cxnLst/>
              <a:rect l="l" t="t" r="r" b="b"/>
              <a:pathLst>
                <a:path w="33" h="31" extrusionOk="0">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0" name="Google Shape;880;p14"/>
            <p:cNvSpPr/>
            <p:nvPr/>
          </p:nvSpPr>
          <p:spPr>
            <a:xfrm>
              <a:off x="4521608" y="2255892"/>
              <a:ext cx="85725" cy="79375"/>
            </a:xfrm>
            <a:custGeom>
              <a:avLst/>
              <a:gdLst/>
              <a:ahLst/>
              <a:cxnLst/>
              <a:rect l="l" t="t" r="r" b="b"/>
              <a:pathLst>
                <a:path w="192" h="154" extrusionOk="0">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1" name="Google Shape;881;p14"/>
            <p:cNvSpPr/>
            <p:nvPr/>
          </p:nvSpPr>
          <p:spPr>
            <a:xfrm>
              <a:off x="4439058" y="2138417"/>
              <a:ext cx="381000" cy="247650"/>
            </a:xfrm>
            <a:custGeom>
              <a:avLst/>
              <a:gdLst/>
              <a:ahLst/>
              <a:cxnLst/>
              <a:rect l="l" t="t" r="r" b="b"/>
              <a:pathLst>
                <a:path w="877" h="469" extrusionOk="0">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2" name="Google Shape;882;p14"/>
            <p:cNvSpPr/>
            <p:nvPr/>
          </p:nvSpPr>
          <p:spPr>
            <a:xfrm>
              <a:off x="4950233" y="2481317"/>
              <a:ext cx="47625" cy="63500"/>
            </a:xfrm>
            <a:custGeom>
              <a:avLst/>
              <a:gdLst/>
              <a:ahLst/>
              <a:cxnLst/>
              <a:rect l="l" t="t" r="r" b="b"/>
              <a:pathLst>
                <a:path w="107" h="123" extrusionOk="0">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3" name="Google Shape;883;p14"/>
            <p:cNvSpPr/>
            <p:nvPr/>
          </p:nvSpPr>
          <p:spPr>
            <a:xfrm>
              <a:off x="5493158" y="2495604"/>
              <a:ext cx="207962" cy="122238"/>
            </a:xfrm>
            <a:custGeom>
              <a:avLst/>
              <a:gdLst/>
              <a:ahLst/>
              <a:cxnLst/>
              <a:rect l="l" t="t" r="r" b="b"/>
              <a:pathLst>
                <a:path w="471" h="234" extrusionOk="0">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4" name="Google Shape;884;p14"/>
            <p:cNvSpPr/>
            <p:nvPr/>
          </p:nvSpPr>
          <p:spPr>
            <a:xfrm>
              <a:off x="5542370" y="2424167"/>
              <a:ext cx="225425" cy="125412"/>
            </a:xfrm>
            <a:custGeom>
              <a:avLst/>
              <a:gdLst/>
              <a:ahLst/>
              <a:cxnLst/>
              <a:rect l="l" t="t" r="r" b="b"/>
              <a:pathLst>
                <a:path w="525" h="241" extrusionOk="0">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5" name="Google Shape;885;p14"/>
            <p:cNvSpPr/>
            <p:nvPr/>
          </p:nvSpPr>
          <p:spPr>
            <a:xfrm>
              <a:off x="5148670" y="2440042"/>
              <a:ext cx="342900" cy="227012"/>
            </a:xfrm>
            <a:custGeom>
              <a:avLst/>
              <a:gdLst/>
              <a:ahLst/>
              <a:cxnLst/>
              <a:rect l="l" t="t" r="r" b="b"/>
              <a:pathLst>
                <a:path w="784" h="430" extrusionOk="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6" name="Google Shape;886;p14"/>
            <p:cNvSpPr/>
            <p:nvPr/>
          </p:nvSpPr>
          <p:spPr>
            <a:xfrm>
              <a:off x="4358095" y="2327329"/>
              <a:ext cx="107950" cy="149225"/>
            </a:xfrm>
            <a:custGeom>
              <a:avLst/>
              <a:gdLst/>
              <a:ahLst/>
              <a:cxnLst/>
              <a:rect l="l" t="t" r="r" b="b"/>
              <a:pathLst>
                <a:path w="246" h="284" extrusionOk="0">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7" name="Google Shape;887;p14"/>
            <p:cNvSpPr/>
            <p:nvPr/>
          </p:nvSpPr>
          <p:spPr>
            <a:xfrm>
              <a:off x="4405720" y="2435279"/>
              <a:ext cx="68263" cy="60325"/>
            </a:xfrm>
            <a:custGeom>
              <a:avLst/>
              <a:gdLst/>
              <a:ahLst/>
              <a:cxnLst/>
              <a:rect l="l" t="t" r="r" b="b"/>
              <a:pathLst>
                <a:path w="160" h="117" extrusionOk="0">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8" name="Google Shape;888;p14"/>
            <p:cNvSpPr/>
            <p:nvPr/>
          </p:nvSpPr>
          <p:spPr>
            <a:xfrm>
              <a:off x="4489858" y="3059167"/>
              <a:ext cx="411162" cy="611187"/>
            </a:xfrm>
            <a:custGeom>
              <a:avLst/>
              <a:gdLst/>
              <a:ahLst/>
              <a:cxnLst/>
              <a:rect l="l" t="t" r="r" b="b"/>
              <a:pathLst>
                <a:path w="943" h="1172" extrusionOk="0">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9" name="Google Shape;889;p14"/>
            <p:cNvSpPr/>
            <p:nvPr/>
          </p:nvSpPr>
          <p:spPr>
            <a:xfrm>
              <a:off x="4974045" y="3398892"/>
              <a:ext cx="244475" cy="431800"/>
            </a:xfrm>
            <a:custGeom>
              <a:avLst/>
              <a:gdLst/>
              <a:ahLst/>
              <a:cxnLst/>
              <a:rect l="l" t="t" r="r" b="b"/>
              <a:pathLst>
                <a:path w="556" h="819" extrusionOk="0">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0" name="Google Shape;890;p14"/>
            <p:cNvSpPr/>
            <p:nvPr/>
          </p:nvSpPr>
          <p:spPr>
            <a:xfrm>
              <a:off x="4981983" y="3386192"/>
              <a:ext cx="38100" cy="58737"/>
            </a:xfrm>
            <a:custGeom>
              <a:avLst/>
              <a:gdLst/>
              <a:ahLst/>
              <a:cxnLst/>
              <a:rect l="l" t="t" r="r" b="b"/>
              <a:pathLst>
                <a:path w="86" h="97" extrusionOk="0">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1" name="Google Shape;891;p14"/>
            <p:cNvSpPr/>
            <p:nvPr/>
          </p:nvSpPr>
          <p:spPr>
            <a:xfrm>
              <a:off x="4780370" y="3297292"/>
              <a:ext cx="363538" cy="376237"/>
            </a:xfrm>
            <a:custGeom>
              <a:avLst/>
              <a:gdLst/>
              <a:ahLst/>
              <a:cxnLst/>
              <a:rect l="l" t="t" r="r" b="b"/>
              <a:pathLst>
                <a:path w="845" h="720" extrusionOk="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892" name="Google Shape;892;p14"/>
            <p:cNvCxnSpPr/>
            <p:nvPr/>
          </p:nvCxnSpPr>
          <p:spPr>
            <a:xfrm flipH="1">
              <a:off x="1640295" y="3816404"/>
              <a:ext cx="4763" cy="7938"/>
            </a:xfrm>
            <a:prstGeom prst="straightConnector1">
              <a:avLst/>
            </a:prstGeom>
            <a:noFill/>
            <a:ln w="9525" cap="flat" cmpd="sng">
              <a:solidFill>
                <a:srgbClr val="FFFFFF"/>
              </a:solidFill>
              <a:prstDash val="solid"/>
              <a:round/>
              <a:headEnd type="none" w="med" len="med"/>
              <a:tailEnd type="none" w="med" len="med"/>
            </a:ln>
          </p:spPr>
        </p:cxnSp>
        <p:sp>
          <p:nvSpPr>
            <p:cNvPr id="893" name="Google Shape;893;p14"/>
            <p:cNvSpPr/>
            <p:nvPr/>
          </p:nvSpPr>
          <p:spPr>
            <a:xfrm>
              <a:off x="1640295" y="3824342"/>
              <a:ext cx="12700" cy="58737"/>
            </a:xfrm>
            <a:custGeom>
              <a:avLst/>
              <a:gdLst/>
              <a:ahLst/>
              <a:cxnLst/>
              <a:rect l="l" t="t" r="r" b="b"/>
              <a:pathLst>
                <a:path w="33" h="6" extrusionOk="0">
                  <a:moveTo>
                    <a:pt x="0" y="0"/>
                  </a:moveTo>
                  <a:lnTo>
                    <a:pt x="7" y="1"/>
                  </a:lnTo>
                  <a:lnTo>
                    <a:pt x="15" y="3"/>
                  </a:lnTo>
                  <a:lnTo>
                    <a:pt x="23" y="5"/>
                  </a:lnTo>
                  <a:lnTo>
                    <a:pt x="33"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4" name="Google Shape;894;p14"/>
            <p:cNvSpPr/>
            <p:nvPr/>
          </p:nvSpPr>
          <p:spPr>
            <a:xfrm>
              <a:off x="1648233" y="3811642"/>
              <a:ext cx="4762" cy="57150"/>
            </a:xfrm>
            <a:custGeom>
              <a:avLst/>
              <a:gdLst/>
              <a:ahLst/>
              <a:cxnLst/>
              <a:rect l="l" t="t" r="r" b="b"/>
              <a:pathLst>
                <a:path w="13" h="30" extrusionOk="0">
                  <a:moveTo>
                    <a:pt x="13" y="30"/>
                  </a:moveTo>
                  <a:lnTo>
                    <a:pt x="13"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895" name="Google Shape;895;p14"/>
            <p:cNvGrpSpPr/>
            <p:nvPr/>
          </p:nvGrpSpPr>
          <p:grpSpPr>
            <a:xfrm>
              <a:off x="1640295" y="3746554"/>
              <a:ext cx="417513" cy="201613"/>
              <a:chOff x="912" y="2626"/>
              <a:chExt cx="311" cy="127"/>
            </a:xfrm>
          </p:grpSpPr>
          <p:sp>
            <p:nvSpPr>
              <p:cNvPr id="896" name="Google Shape;896;p14"/>
              <p:cNvSpPr/>
              <p:nvPr/>
            </p:nvSpPr>
            <p:spPr>
              <a:xfrm>
                <a:off x="1110" y="2626"/>
                <a:ext cx="113" cy="127"/>
              </a:xfrm>
              <a:custGeom>
                <a:avLst/>
                <a:gdLst/>
                <a:ahLst/>
                <a:cxnLst/>
                <a:rect l="l" t="t" r="r" b="b"/>
                <a:pathLst>
                  <a:path w="352" h="387" extrusionOk="0">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7" name="Google Shape;897;p14"/>
              <p:cNvSpPr/>
              <p:nvPr/>
            </p:nvSpPr>
            <p:spPr>
              <a:xfrm>
                <a:off x="923" y="2662"/>
                <a:ext cx="17" cy="26"/>
              </a:xfrm>
              <a:custGeom>
                <a:avLst/>
                <a:gdLst/>
                <a:ahLst/>
                <a:cxnLst/>
                <a:rect l="l" t="t" r="r" b="b"/>
                <a:pathLst>
                  <a:path w="52" h="78" extrusionOk="0">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8" name="Google Shape;898;p14"/>
              <p:cNvSpPr/>
              <p:nvPr/>
            </p:nvSpPr>
            <p:spPr>
              <a:xfrm>
                <a:off x="912" y="2666"/>
                <a:ext cx="9" cy="10"/>
              </a:xfrm>
              <a:custGeom>
                <a:avLst/>
                <a:gdLst/>
                <a:ahLst/>
                <a:cxnLst/>
                <a:rect l="l" t="t" r="r" b="b"/>
                <a:pathLst>
                  <a:path w="33" h="30" extrusionOk="0">
                    <a:moveTo>
                      <a:pt x="13" y="6"/>
                    </a:moveTo>
                    <a:lnTo>
                      <a:pt x="0" y="24"/>
                    </a:lnTo>
                    <a:lnTo>
                      <a:pt x="7" y="25"/>
                    </a:lnTo>
                    <a:lnTo>
                      <a:pt x="15" y="27"/>
                    </a:lnTo>
                    <a:lnTo>
                      <a:pt x="23" y="29"/>
                    </a:lnTo>
                    <a:lnTo>
                      <a:pt x="33" y="30"/>
                    </a:lnTo>
                    <a:lnTo>
                      <a:pt x="33" y="0"/>
                    </a:lnTo>
                    <a:lnTo>
                      <a:pt x="20" y="0"/>
                    </a:lnTo>
                    <a:lnTo>
                      <a:pt x="13"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899" name="Google Shape;899;p14"/>
            <p:cNvSpPr/>
            <p:nvPr/>
          </p:nvSpPr>
          <p:spPr>
            <a:xfrm>
              <a:off x="5288370" y="4464104"/>
              <a:ext cx="19050" cy="58738"/>
            </a:xfrm>
            <a:custGeom>
              <a:avLst/>
              <a:gdLst/>
              <a:ahLst/>
              <a:cxnLst/>
              <a:rect l="l" t="t" r="r" b="b"/>
              <a:pathLst>
                <a:path w="47" h="28" extrusionOk="0">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0" name="Google Shape;900;p14"/>
            <p:cNvSpPr/>
            <p:nvPr/>
          </p:nvSpPr>
          <p:spPr>
            <a:xfrm>
              <a:off x="5259795" y="4491092"/>
              <a:ext cx="23813" cy="5715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901" name="Google Shape;901;p14"/>
            <p:cNvGrpSpPr/>
            <p:nvPr/>
          </p:nvGrpSpPr>
          <p:grpSpPr>
            <a:xfrm>
              <a:off x="5101045" y="3983092"/>
              <a:ext cx="168275" cy="103187"/>
              <a:chOff x="3481" y="2773"/>
              <a:chExt cx="125" cy="65"/>
            </a:xfrm>
          </p:grpSpPr>
          <p:sp>
            <p:nvSpPr>
              <p:cNvPr id="902" name="Google Shape;902;p14"/>
              <p:cNvSpPr/>
              <p:nvPr/>
            </p:nvSpPr>
            <p:spPr>
              <a:xfrm>
                <a:off x="3583" y="2798"/>
                <a:ext cx="5" cy="6"/>
              </a:xfrm>
              <a:custGeom>
                <a:avLst/>
                <a:gdLst/>
                <a:ahLst/>
                <a:cxnLst/>
                <a:rect l="l" t="t" r="r" b="b"/>
                <a:pathLst>
                  <a:path w="13" h="18" extrusionOk="0">
                    <a:moveTo>
                      <a:pt x="13" y="0"/>
                    </a:moveTo>
                    <a:lnTo>
                      <a:pt x="10" y="9"/>
                    </a:lnTo>
                    <a:lnTo>
                      <a:pt x="6" y="18"/>
                    </a:lnTo>
                    <a:lnTo>
                      <a:pt x="5" y="17"/>
                    </a:lnTo>
                    <a:lnTo>
                      <a:pt x="3" y="14"/>
                    </a:lnTo>
                    <a:lnTo>
                      <a:pt x="1" y="10"/>
                    </a:lnTo>
                    <a:lnTo>
                      <a:pt x="0" y="6"/>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903" name="Google Shape;903;p14"/>
              <p:cNvCxnSpPr/>
              <p:nvPr/>
            </p:nvCxnSpPr>
            <p:spPr>
              <a:xfrm>
                <a:off x="3583" y="2800"/>
                <a:ext cx="2" cy="1"/>
              </a:xfrm>
              <a:prstGeom prst="straightConnector1">
                <a:avLst/>
              </a:prstGeom>
              <a:solidFill>
                <a:srgbClr val="FFC000"/>
              </a:solidFill>
              <a:ln w="9525" cap="flat" cmpd="sng">
                <a:solidFill>
                  <a:srgbClr val="FFFFFF"/>
                </a:solidFill>
                <a:prstDash val="solid"/>
                <a:round/>
                <a:headEnd type="none" w="med" len="med"/>
                <a:tailEnd type="none" w="med" len="med"/>
              </a:ln>
            </p:spPr>
          </p:cxnSp>
          <p:sp>
            <p:nvSpPr>
              <p:cNvPr id="904" name="Google Shape;904;p14"/>
              <p:cNvSpPr/>
              <p:nvPr/>
            </p:nvSpPr>
            <p:spPr>
              <a:xfrm>
                <a:off x="3554" y="2819"/>
                <a:ext cx="5" cy="6"/>
              </a:xfrm>
              <a:custGeom>
                <a:avLst/>
                <a:gdLst/>
                <a:ahLst/>
                <a:cxnLst/>
                <a:rect l="l" t="t" r="r" b="b"/>
                <a:pathLst>
                  <a:path w="14" h="19" extrusionOk="0">
                    <a:moveTo>
                      <a:pt x="14" y="19"/>
                    </a:moveTo>
                    <a:lnTo>
                      <a:pt x="0" y="0"/>
                    </a:lnTo>
                    <a:lnTo>
                      <a:pt x="14" y="19"/>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5" name="Google Shape;905;p14"/>
              <p:cNvSpPr/>
              <p:nvPr/>
            </p:nvSpPr>
            <p:spPr>
              <a:xfrm>
                <a:off x="3528" y="2832"/>
                <a:ext cx="2" cy="6"/>
              </a:xfrm>
              <a:custGeom>
                <a:avLst/>
                <a:gdLst/>
                <a:ahLst/>
                <a:cxnLst/>
                <a:rect l="l" t="t" r="r" b="b"/>
                <a:pathLst>
                  <a:path w="7" h="18" extrusionOk="0">
                    <a:moveTo>
                      <a:pt x="0" y="6"/>
                    </a:moveTo>
                    <a:lnTo>
                      <a:pt x="7" y="18"/>
                    </a:lnTo>
                    <a:lnTo>
                      <a:pt x="0" y="18"/>
                    </a:lnTo>
                    <a:lnTo>
                      <a:pt x="0" y="0"/>
                    </a:lnTo>
                    <a:lnTo>
                      <a:pt x="7"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6" name="Google Shape;906;p14"/>
              <p:cNvSpPr/>
              <p:nvPr/>
            </p:nvSpPr>
            <p:spPr>
              <a:xfrm>
                <a:off x="3599" y="2773"/>
                <a:ext cx="7" cy="4"/>
              </a:xfrm>
              <a:custGeom>
                <a:avLst/>
                <a:gdLst/>
                <a:ahLst/>
                <a:cxnLst/>
                <a:rect l="l" t="t" r="r" b="b"/>
                <a:pathLst>
                  <a:path w="20" h="12" extrusionOk="0">
                    <a:moveTo>
                      <a:pt x="20" y="12"/>
                    </a:moveTo>
                    <a:lnTo>
                      <a:pt x="10" y="9"/>
                    </a:lnTo>
                    <a:lnTo>
                      <a:pt x="0" y="6"/>
                    </a:lnTo>
                    <a:lnTo>
                      <a:pt x="1" y="5"/>
                    </a:lnTo>
                    <a:lnTo>
                      <a:pt x="3" y="3"/>
                    </a:lnTo>
                    <a:lnTo>
                      <a:pt x="8" y="1"/>
                    </a:lnTo>
                    <a:lnTo>
                      <a:pt x="13"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907" name="Google Shape;907;p14"/>
              <p:cNvCxnSpPr/>
              <p:nvPr/>
            </p:nvCxnSpPr>
            <p:spPr>
              <a:xfrm>
                <a:off x="3603" y="2773"/>
                <a:ext cx="1" cy="2"/>
              </a:xfrm>
              <a:prstGeom prst="straightConnector1">
                <a:avLst/>
              </a:prstGeom>
              <a:solidFill>
                <a:srgbClr val="FFC000"/>
              </a:solidFill>
              <a:ln w="9525" cap="flat" cmpd="sng">
                <a:solidFill>
                  <a:srgbClr val="FFFFFF"/>
                </a:solidFill>
                <a:prstDash val="solid"/>
                <a:round/>
                <a:headEnd type="none" w="med" len="med"/>
                <a:tailEnd type="none" w="med" len="med"/>
              </a:ln>
            </p:spPr>
          </p:cxnSp>
          <p:sp>
            <p:nvSpPr>
              <p:cNvPr id="908" name="Google Shape;908;p14"/>
              <p:cNvSpPr/>
              <p:nvPr/>
            </p:nvSpPr>
            <p:spPr>
              <a:xfrm>
                <a:off x="3481" y="2828"/>
                <a:ext cx="7" cy="6"/>
              </a:xfrm>
              <a:custGeom>
                <a:avLst/>
                <a:gdLst/>
                <a:ahLst/>
                <a:cxnLst/>
                <a:rect l="l" t="t" r="r" b="b"/>
                <a:pathLst>
                  <a:path w="20" h="18" extrusionOk="0">
                    <a:moveTo>
                      <a:pt x="0" y="0"/>
                    </a:moveTo>
                    <a:lnTo>
                      <a:pt x="0" y="18"/>
                    </a:lnTo>
                    <a:lnTo>
                      <a:pt x="20" y="18"/>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9" name="Google Shape;909;p14"/>
              <p:cNvSpPr/>
              <p:nvPr/>
            </p:nvSpPr>
            <p:spPr>
              <a:xfrm>
                <a:off x="3485" y="2830"/>
                <a:ext cx="3" cy="4"/>
              </a:xfrm>
              <a:custGeom>
                <a:avLst/>
                <a:gdLst/>
                <a:ahLst/>
                <a:cxnLst/>
                <a:rect l="l" t="t" r="r" b="b"/>
                <a:pathLst>
                  <a:path w="7" h="12" extrusionOk="0">
                    <a:moveTo>
                      <a:pt x="7" y="12"/>
                    </a:moveTo>
                    <a:lnTo>
                      <a:pt x="4" y="6"/>
                    </a:lnTo>
                    <a:lnTo>
                      <a:pt x="0"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0" name="Google Shape;910;p14"/>
              <p:cNvSpPr/>
              <p:nvPr/>
            </p:nvSpPr>
            <p:spPr>
              <a:xfrm>
                <a:off x="3481" y="2828"/>
                <a:ext cx="7" cy="6"/>
              </a:xfrm>
              <a:custGeom>
                <a:avLst/>
                <a:gdLst/>
                <a:ahLst/>
                <a:cxnLst/>
                <a:rect l="l" t="t" r="r" b="b"/>
                <a:pathLst>
                  <a:path w="20" h="18" extrusionOk="0">
                    <a:moveTo>
                      <a:pt x="0" y="0"/>
                    </a:moveTo>
                    <a:lnTo>
                      <a:pt x="0" y="18"/>
                    </a:lnTo>
                    <a:lnTo>
                      <a:pt x="20" y="18"/>
                    </a:lnTo>
                    <a:lnTo>
                      <a:pt x="17" y="12"/>
                    </a:lnTo>
                    <a:lnTo>
                      <a:pt x="13" y="6"/>
                    </a:lnTo>
                    <a:lnTo>
                      <a:pt x="0"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1" name="Google Shape;911;p14"/>
              <p:cNvSpPr/>
              <p:nvPr/>
            </p:nvSpPr>
            <p:spPr>
              <a:xfrm>
                <a:off x="3528" y="2832"/>
                <a:ext cx="2" cy="6"/>
              </a:xfrm>
              <a:custGeom>
                <a:avLst/>
                <a:gdLst/>
                <a:ahLst/>
                <a:cxnLst/>
                <a:rect l="l" t="t" r="r" b="b"/>
                <a:pathLst>
                  <a:path w="7" h="18" extrusionOk="0">
                    <a:moveTo>
                      <a:pt x="0" y="6"/>
                    </a:moveTo>
                    <a:lnTo>
                      <a:pt x="7" y="18"/>
                    </a:lnTo>
                    <a:lnTo>
                      <a:pt x="0" y="18"/>
                    </a:lnTo>
                    <a:lnTo>
                      <a:pt x="0" y="0"/>
                    </a:lnTo>
                    <a:lnTo>
                      <a:pt x="7" y="0"/>
                    </a:lnTo>
                    <a:lnTo>
                      <a:pt x="0" y="6"/>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2" name="Google Shape;912;p14"/>
              <p:cNvSpPr/>
              <p:nvPr/>
            </p:nvSpPr>
            <p:spPr>
              <a:xfrm>
                <a:off x="3583" y="2798"/>
                <a:ext cx="5" cy="6"/>
              </a:xfrm>
              <a:custGeom>
                <a:avLst/>
                <a:gdLst/>
                <a:ahLst/>
                <a:cxnLst/>
                <a:rect l="l" t="t" r="r" b="b"/>
                <a:pathLst>
                  <a:path w="13" h="18" extrusionOk="0">
                    <a:moveTo>
                      <a:pt x="13" y="0"/>
                    </a:moveTo>
                    <a:lnTo>
                      <a:pt x="10" y="9"/>
                    </a:lnTo>
                    <a:lnTo>
                      <a:pt x="6" y="18"/>
                    </a:lnTo>
                    <a:lnTo>
                      <a:pt x="5" y="17"/>
                    </a:lnTo>
                    <a:lnTo>
                      <a:pt x="3" y="14"/>
                    </a:lnTo>
                    <a:lnTo>
                      <a:pt x="1" y="10"/>
                    </a:lnTo>
                    <a:lnTo>
                      <a:pt x="0" y="6"/>
                    </a:lnTo>
                    <a:lnTo>
                      <a:pt x="6" y="6"/>
                    </a:lnTo>
                    <a:lnTo>
                      <a:pt x="13"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913" name="Google Shape;913;p14"/>
            <p:cNvSpPr/>
            <p:nvPr/>
          </p:nvSpPr>
          <p:spPr>
            <a:xfrm>
              <a:off x="4229508" y="3975154"/>
              <a:ext cx="319087" cy="379413"/>
            </a:xfrm>
            <a:custGeom>
              <a:avLst/>
              <a:gdLst/>
              <a:ahLst/>
              <a:cxnLst/>
              <a:rect l="l" t="t" r="r" b="b"/>
              <a:pathLst>
                <a:path w="736" h="721" extrusionOk="0">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4" name="Google Shape;914;p14"/>
            <p:cNvSpPr/>
            <p:nvPr/>
          </p:nvSpPr>
          <p:spPr>
            <a:xfrm>
              <a:off x="4240620" y="3948167"/>
              <a:ext cx="15875" cy="60325"/>
            </a:xfrm>
            <a:custGeom>
              <a:avLst/>
              <a:gdLst/>
              <a:ahLst/>
              <a:cxnLst/>
              <a:rect l="l" t="t" r="r" b="b"/>
              <a:pathLst>
                <a:path w="39" h="31" extrusionOk="0">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5" name="Google Shape;915;p14"/>
            <p:cNvSpPr/>
            <p:nvPr/>
          </p:nvSpPr>
          <p:spPr>
            <a:xfrm>
              <a:off x="4342220" y="4491092"/>
              <a:ext cx="396875" cy="398462"/>
            </a:xfrm>
            <a:custGeom>
              <a:avLst/>
              <a:gdLst/>
              <a:ahLst/>
              <a:cxnLst/>
              <a:rect l="l" t="t" r="r" b="b"/>
              <a:pathLst>
                <a:path w="903" h="759" extrusionOk="0">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6" name="Google Shape;916;p14"/>
            <p:cNvSpPr/>
            <p:nvPr/>
          </p:nvSpPr>
          <p:spPr>
            <a:xfrm>
              <a:off x="4489858" y="3059167"/>
              <a:ext cx="411162" cy="611187"/>
            </a:xfrm>
            <a:custGeom>
              <a:avLst/>
              <a:gdLst/>
              <a:ahLst/>
              <a:cxnLst/>
              <a:rect l="l" t="t" r="r" b="b"/>
              <a:pathLst>
                <a:path w="943" h="1172" extrusionOk="0">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917" name="Google Shape;917;p14"/>
            <p:cNvGrpSpPr/>
            <p:nvPr/>
          </p:nvGrpSpPr>
          <p:grpSpPr>
            <a:xfrm>
              <a:off x="3273833" y="3260779"/>
              <a:ext cx="80962" cy="82550"/>
              <a:chOff x="2352" y="2343"/>
              <a:chExt cx="65" cy="53"/>
            </a:xfrm>
          </p:grpSpPr>
          <p:sp>
            <p:nvSpPr>
              <p:cNvPr id="918" name="Google Shape;918;p14"/>
              <p:cNvSpPr/>
              <p:nvPr/>
            </p:nvSpPr>
            <p:spPr>
              <a:xfrm>
                <a:off x="2352" y="2343"/>
                <a:ext cx="16" cy="11"/>
              </a:xfrm>
              <a:custGeom>
                <a:avLst/>
                <a:gdLst/>
                <a:ahLst/>
                <a:cxnLst/>
                <a:rect l="l" t="t" r="r" b="b"/>
                <a:pathLst>
                  <a:path w="51" h="33" extrusionOk="0">
                    <a:moveTo>
                      <a:pt x="46" y="0"/>
                    </a:moveTo>
                    <a:lnTo>
                      <a:pt x="0" y="5"/>
                    </a:lnTo>
                    <a:lnTo>
                      <a:pt x="4" y="28"/>
                    </a:lnTo>
                    <a:lnTo>
                      <a:pt x="10" y="33"/>
                    </a:lnTo>
                    <a:lnTo>
                      <a:pt x="35" y="25"/>
                    </a:lnTo>
                    <a:lnTo>
                      <a:pt x="48" y="15"/>
                    </a:lnTo>
                    <a:lnTo>
                      <a:pt x="51" y="8"/>
                    </a:lnTo>
                    <a:lnTo>
                      <a:pt x="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9" name="Google Shape;919;p14"/>
              <p:cNvSpPr/>
              <p:nvPr/>
            </p:nvSpPr>
            <p:spPr>
              <a:xfrm>
                <a:off x="2372" y="2354"/>
                <a:ext cx="20" cy="7"/>
              </a:xfrm>
              <a:custGeom>
                <a:avLst/>
                <a:gdLst/>
                <a:ahLst/>
                <a:cxnLst/>
                <a:rect l="l" t="t" r="r" b="b"/>
                <a:pathLst>
                  <a:path w="61" h="20" extrusionOk="0">
                    <a:moveTo>
                      <a:pt x="61" y="6"/>
                    </a:moveTo>
                    <a:lnTo>
                      <a:pt x="53" y="2"/>
                    </a:lnTo>
                    <a:lnTo>
                      <a:pt x="0" y="0"/>
                    </a:lnTo>
                    <a:lnTo>
                      <a:pt x="2" y="14"/>
                    </a:lnTo>
                    <a:lnTo>
                      <a:pt x="7" y="20"/>
                    </a:lnTo>
                    <a:lnTo>
                      <a:pt x="18" y="13"/>
                    </a:lnTo>
                    <a:lnTo>
                      <a:pt x="61"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0" name="Google Shape;920;p14"/>
              <p:cNvSpPr/>
              <p:nvPr/>
            </p:nvSpPr>
            <p:spPr>
              <a:xfrm>
                <a:off x="2407" y="2346"/>
                <a:ext cx="5" cy="12"/>
              </a:xfrm>
              <a:custGeom>
                <a:avLst/>
                <a:gdLst/>
                <a:ahLst/>
                <a:cxnLst/>
                <a:rect l="l" t="t" r="r" b="b"/>
                <a:pathLst>
                  <a:path w="15" h="36" extrusionOk="0">
                    <a:moveTo>
                      <a:pt x="2" y="0"/>
                    </a:moveTo>
                    <a:lnTo>
                      <a:pt x="0" y="20"/>
                    </a:lnTo>
                    <a:lnTo>
                      <a:pt x="0" y="36"/>
                    </a:lnTo>
                    <a:lnTo>
                      <a:pt x="11" y="35"/>
                    </a:lnTo>
                    <a:lnTo>
                      <a:pt x="15" y="14"/>
                    </a:lnTo>
                    <a:lnTo>
                      <a:pt x="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1" name="Google Shape;921;p14"/>
              <p:cNvSpPr/>
              <p:nvPr/>
            </p:nvSpPr>
            <p:spPr>
              <a:xfrm>
                <a:off x="2406" y="2361"/>
                <a:ext cx="11" cy="11"/>
              </a:xfrm>
              <a:custGeom>
                <a:avLst/>
                <a:gdLst/>
                <a:ahLst/>
                <a:cxnLst/>
                <a:rect l="l" t="t" r="r" b="b"/>
                <a:pathLst>
                  <a:path w="37" h="33" extrusionOk="0">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2" name="Google Shape;922;p14"/>
              <p:cNvSpPr/>
              <p:nvPr/>
            </p:nvSpPr>
            <p:spPr>
              <a:xfrm>
                <a:off x="2388" y="2378"/>
                <a:ext cx="16" cy="18"/>
              </a:xfrm>
              <a:custGeom>
                <a:avLst/>
                <a:gdLst/>
                <a:ahLst/>
                <a:cxnLst/>
                <a:rect l="l" t="t" r="r" b="b"/>
                <a:pathLst>
                  <a:path w="49" h="54" extrusionOk="0">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3" name="Google Shape;923;p14"/>
              <p:cNvSpPr/>
              <p:nvPr/>
            </p:nvSpPr>
            <p:spPr>
              <a:xfrm>
                <a:off x="2374" y="2388"/>
                <a:ext cx="9" cy="7"/>
              </a:xfrm>
              <a:custGeom>
                <a:avLst/>
                <a:gdLst/>
                <a:ahLst/>
                <a:cxnLst/>
                <a:rect l="l" t="t" r="r" b="b"/>
                <a:pathLst>
                  <a:path w="26" h="22" extrusionOk="0">
                    <a:moveTo>
                      <a:pt x="18" y="0"/>
                    </a:moveTo>
                    <a:lnTo>
                      <a:pt x="3" y="2"/>
                    </a:lnTo>
                    <a:lnTo>
                      <a:pt x="0" y="15"/>
                    </a:lnTo>
                    <a:lnTo>
                      <a:pt x="6" y="21"/>
                    </a:lnTo>
                    <a:lnTo>
                      <a:pt x="19" y="22"/>
                    </a:lnTo>
                    <a:lnTo>
                      <a:pt x="26" y="11"/>
                    </a:lnTo>
                    <a:lnTo>
                      <a:pt x="18"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grpSp>
          <p:nvGrpSpPr>
            <p:cNvPr id="924" name="Google Shape;924;p14"/>
            <p:cNvGrpSpPr/>
            <p:nvPr/>
          </p:nvGrpSpPr>
          <p:grpSpPr>
            <a:xfrm>
              <a:off x="1119595" y="1320854"/>
              <a:ext cx="1897063" cy="1133475"/>
              <a:chOff x="527" y="1110"/>
              <a:chExt cx="1410" cy="709"/>
            </a:xfrm>
          </p:grpSpPr>
          <p:sp>
            <p:nvSpPr>
              <p:cNvPr id="925" name="Google Shape;925;p14"/>
              <p:cNvSpPr/>
              <p:nvPr/>
            </p:nvSpPr>
            <p:spPr>
              <a:xfrm>
                <a:off x="1401" y="1427"/>
                <a:ext cx="31" cy="17"/>
              </a:xfrm>
              <a:custGeom>
                <a:avLst/>
                <a:gdLst/>
                <a:ahLst/>
                <a:cxnLst/>
                <a:rect l="l" t="t" r="r" b="b"/>
                <a:pathLst>
                  <a:path w="98" h="54" extrusionOk="0">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6" name="Google Shape;926;p14"/>
              <p:cNvSpPr/>
              <p:nvPr/>
            </p:nvSpPr>
            <p:spPr>
              <a:xfrm>
                <a:off x="1387" y="1551"/>
                <a:ext cx="21" cy="8"/>
              </a:xfrm>
              <a:custGeom>
                <a:avLst/>
                <a:gdLst/>
                <a:ahLst/>
                <a:cxnLst/>
                <a:rect l="l" t="t" r="r" b="b"/>
                <a:pathLst>
                  <a:path w="67" h="28" extrusionOk="0">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7" name="Google Shape;927;p14"/>
              <p:cNvSpPr/>
              <p:nvPr/>
            </p:nvSpPr>
            <p:spPr>
              <a:xfrm>
                <a:off x="1332" y="1608"/>
                <a:ext cx="11" cy="11"/>
              </a:xfrm>
              <a:custGeom>
                <a:avLst/>
                <a:gdLst/>
                <a:ahLst/>
                <a:cxnLst/>
                <a:rect l="l" t="t" r="r" b="b"/>
                <a:pathLst>
                  <a:path w="32" h="36" extrusionOk="0">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8" name="Google Shape;928;p14"/>
              <p:cNvSpPr/>
              <p:nvPr/>
            </p:nvSpPr>
            <p:spPr>
              <a:xfrm>
                <a:off x="1279" y="1314"/>
                <a:ext cx="46" cy="17"/>
              </a:xfrm>
              <a:custGeom>
                <a:avLst/>
                <a:gdLst/>
                <a:ahLst/>
                <a:cxnLst/>
                <a:rect l="l" t="t" r="r" b="b"/>
                <a:pathLst>
                  <a:path w="146" h="52" extrusionOk="0">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9" name="Google Shape;929;p14"/>
              <p:cNvSpPr/>
              <p:nvPr/>
            </p:nvSpPr>
            <p:spPr>
              <a:xfrm>
                <a:off x="1261" y="1252"/>
                <a:ext cx="20" cy="10"/>
              </a:xfrm>
              <a:custGeom>
                <a:avLst/>
                <a:gdLst/>
                <a:ahLst/>
                <a:cxnLst/>
                <a:rect l="l" t="t" r="r" b="b"/>
                <a:pathLst>
                  <a:path w="60" h="31" extrusionOk="0">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0" name="Google Shape;930;p14"/>
              <p:cNvSpPr/>
              <p:nvPr/>
            </p:nvSpPr>
            <p:spPr>
              <a:xfrm>
                <a:off x="1730" y="1713"/>
                <a:ext cx="26" cy="20"/>
              </a:xfrm>
              <a:custGeom>
                <a:avLst/>
                <a:gdLst/>
                <a:ahLst/>
                <a:cxnLst/>
                <a:rect l="l" t="t" r="r" b="b"/>
                <a:pathLst>
                  <a:path w="80" h="62" extrusionOk="0">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1" name="Google Shape;931;p14"/>
              <p:cNvSpPr/>
              <p:nvPr/>
            </p:nvSpPr>
            <p:spPr>
              <a:xfrm>
                <a:off x="1583" y="1674"/>
                <a:ext cx="33" cy="16"/>
              </a:xfrm>
              <a:custGeom>
                <a:avLst/>
                <a:gdLst/>
                <a:ahLst/>
                <a:cxnLst/>
                <a:rect l="l" t="t" r="r" b="b"/>
                <a:pathLst>
                  <a:path w="106" h="49" extrusionOk="0">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2" name="Google Shape;932;p14"/>
              <p:cNvSpPr/>
              <p:nvPr/>
            </p:nvSpPr>
            <p:spPr>
              <a:xfrm>
                <a:off x="1599" y="1713"/>
                <a:ext cx="15" cy="7"/>
              </a:xfrm>
              <a:custGeom>
                <a:avLst/>
                <a:gdLst/>
                <a:ahLst/>
                <a:cxnLst/>
                <a:rect l="l" t="t" r="r" b="b"/>
                <a:pathLst>
                  <a:path w="47" h="22" extrusionOk="0">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3" name="Google Shape;933;p14"/>
              <p:cNvSpPr/>
              <p:nvPr/>
            </p:nvSpPr>
            <p:spPr>
              <a:xfrm>
                <a:off x="1608" y="1742"/>
                <a:ext cx="17" cy="11"/>
              </a:xfrm>
              <a:custGeom>
                <a:avLst/>
                <a:gdLst/>
                <a:ahLst/>
                <a:cxnLst/>
                <a:rect l="l" t="t" r="r" b="b"/>
                <a:pathLst>
                  <a:path w="53" h="32" extrusionOk="0">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4" name="Google Shape;934;p14"/>
              <p:cNvSpPr/>
              <p:nvPr/>
            </p:nvSpPr>
            <p:spPr>
              <a:xfrm>
                <a:off x="1450" y="1438"/>
                <a:ext cx="14" cy="12"/>
              </a:xfrm>
              <a:custGeom>
                <a:avLst/>
                <a:gdLst/>
                <a:ahLst/>
                <a:cxnLst/>
                <a:rect l="l" t="t" r="r" b="b"/>
                <a:pathLst>
                  <a:path w="46" h="34" extrusionOk="0">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5" name="Google Shape;935;p14"/>
              <p:cNvSpPr/>
              <p:nvPr/>
            </p:nvSpPr>
            <p:spPr>
              <a:xfrm>
                <a:off x="1305" y="1224"/>
                <a:ext cx="16" cy="8"/>
              </a:xfrm>
              <a:custGeom>
                <a:avLst/>
                <a:gdLst/>
                <a:ahLst/>
                <a:cxnLst/>
                <a:rect l="l" t="t" r="r" b="b"/>
                <a:pathLst>
                  <a:path w="48" h="25" extrusionOk="0">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6" name="Google Shape;936;p14"/>
              <p:cNvSpPr/>
              <p:nvPr/>
            </p:nvSpPr>
            <p:spPr>
              <a:xfrm>
                <a:off x="1343" y="1188"/>
                <a:ext cx="8" cy="11"/>
              </a:xfrm>
              <a:custGeom>
                <a:avLst/>
                <a:gdLst/>
                <a:ahLst/>
                <a:cxnLst/>
                <a:rect l="l" t="t" r="r" b="b"/>
                <a:pathLst>
                  <a:path w="30" h="37" extrusionOk="0">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7" name="Google Shape;937;p14"/>
              <p:cNvSpPr/>
              <p:nvPr/>
            </p:nvSpPr>
            <p:spPr>
              <a:xfrm>
                <a:off x="1334" y="1208"/>
                <a:ext cx="36" cy="16"/>
              </a:xfrm>
              <a:custGeom>
                <a:avLst/>
                <a:gdLst/>
                <a:ahLst/>
                <a:cxnLst/>
                <a:rect l="l" t="t" r="r" b="b"/>
                <a:pathLst>
                  <a:path w="113" h="46" extrusionOk="0">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8" name="Google Shape;938;p14"/>
              <p:cNvSpPr/>
              <p:nvPr/>
            </p:nvSpPr>
            <p:spPr>
              <a:xfrm>
                <a:off x="1365" y="1201"/>
                <a:ext cx="49" cy="28"/>
              </a:xfrm>
              <a:custGeom>
                <a:avLst/>
                <a:gdLst/>
                <a:ahLst/>
                <a:cxnLst/>
                <a:rect l="l" t="t" r="r" b="b"/>
                <a:pathLst>
                  <a:path w="153" h="82" extrusionOk="0">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9" name="Google Shape;939;p14"/>
              <p:cNvSpPr/>
              <p:nvPr/>
            </p:nvSpPr>
            <p:spPr>
              <a:xfrm>
                <a:off x="1414" y="1217"/>
                <a:ext cx="29" cy="17"/>
              </a:xfrm>
              <a:custGeom>
                <a:avLst/>
                <a:gdLst/>
                <a:ahLst/>
                <a:cxnLst/>
                <a:rect l="l" t="t" r="r" b="b"/>
                <a:pathLst>
                  <a:path w="86" h="50" extrusionOk="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0" name="Google Shape;940;p14"/>
              <p:cNvSpPr/>
              <p:nvPr/>
            </p:nvSpPr>
            <p:spPr>
              <a:xfrm>
                <a:off x="1379" y="1163"/>
                <a:ext cx="55" cy="25"/>
              </a:xfrm>
              <a:custGeom>
                <a:avLst/>
                <a:gdLst/>
                <a:ahLst/>
                <a:cxnLst/>
                <a:rect l="l" t="t" r="r" b="b"/>
                <a:pathLst>
                  <a:path w="172" h="74" extrusionOk="0">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1" name="Google Shape;941;p14"/>
              <p:cNvSpPr/>
              <p:nvPr/>
            </p:nvSpPr>
            <p:spPr>
              <a:xfrm>
                <a:off x="1450" y="1171"/>
                <a:ext cx="38" cy="17"/>
              </a:xfrm>
              <a:custGeom>
                <a:avLst/>
                <a:gdLst/>
                <a:ahLst/>
                <a:cxnLst/>
                <a:rect l="l" t="t" r="r" b="b"/>
                <a:pathLst>
                  <a:path w="120" h="49" extrusionOk="0">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2" name="Google Shape;942;p14"/>
              <p:cNvSpPr/>
              <p:nvPr/>
            </p:nvSpPr>
            <p:spPr>
              <a:xfrm>
                <a:off x="1441" y="1194"/>
                <a:ext cx="26" cy="19"/>
              </a:xfrm>
              <a:custGeom>
                <a:avLst/>
                <a:gdLst/>
                <a:ahLst/>
                <a:cxnLst/>
                <a:rect l="l" t="t" r="r" b="b"/>
                <a:pathLst>
                  <a:path w="85" h="61" extrusionOk="0">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3" name="Google Shape;943;p14"/>
              <p:cNvSpPr/>
              <p:nvPr/>
            </p:nvSpPr>
            <p:spPr>
              <a:xfrm>
                <a:off x="1254" y="1188"/>
                <a:ext cx="31" cy="6"/>
              </a:xfrm>
              <a:custGeom>
                <a:avLst/>
                <a:gdLst/>
                <a:ahLst/>
                <a:cxnLst/>
                <a:rect l="l" t="t" r="r" b="b"/>
                <a:pathLst>
                  <a:path w="100" h="19" extrusionOk="0">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4" name="Google Shape;944;p14"/>
              <p:cNvSpPr/>
              <p:nvPr/>
            </p:nvSpPr>
            <p:spPr>
              <a:xfrm>
                <a:off x="1272" y="1168"/>
                <a:ext cx="53" cy="15"/>
              </a:xfrm>
              <a:custGeom>
                <a:avLst/>
                <a:gdLst/>
                <a:ahLst/>
                <a:cxnLst/>
                <a:rect l="l" t="t" r="r" b="b"/>
                <a:pathLst>
                  <a:path w="166" h="45" extrusionOk="0">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5" name="Google Shape;945;p14"/>
              <p:cNvSpPr/>
              <p:nvPr/>
            </p:nvSpPr>
            <p:spPr>
              <a:xfrm>
                <a:off x="1488" y="1422"/>
                <a:ext cx="11" cy="8"/>
              </a:xfrm>
              <a:custGeom>
                <a:avLst/>
                <a:gdLst/>
                <a:ahLst/>
                <a:cxnLst/>
                <a:rect l="l" t="t" r="r" b="b"/>
                <a:pathLst>
                  <a:path w="33" h="25" extrusionOk="0">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6" name="Google Shape;946;p14"/>
              <p:cNvSpPr/>
              <p:nvPr/>
            </p:nvSpPr>
            <p:spPr>
              <a:xfrm>
                <a:off x="1605" y="1729"/>
                <a:ext cx="16" cy="20"/>
              </a:xfrm>
              <a:custGeom>
                <a:avLst/>
                <a:gdLst/>
                <a:ahLst/>
                <a:cxnLst/>
                <a:rect l="l" t="t" r="r" b="b"/>
                <a:pathLst>
                  <a:path w="48" h="62" extrusionOk="0">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7" name="Google Shape;947;p14"/>
              <p:cNvSpPr/>
              <p:nvPr/>
            </p:nvSpPr>
            <p:spPr>
              <a:xfrm>
                <a:off x="1554" y="1729"/>
                <a:ext cx="36" cy="20"/>
              </a:xfrm>
              <a:custGeom>
                <a:avLst/>
                <a:gdLst/>
                <a:ahLst/>
                <a:cxnLst/>
                <a:rect l="l" t="t" r="r" b="b"/>
                <a:pathLst>
                  <a:path w="113" h="62" extrusionOk="0">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8" name="Google Shape;948;p14"/>
              <p:cNvSpPr/>
              <p:nvPr/>
            </p:nvSpPr>
            <p:spPr>
              <a:xfrm>
                <a:off x="1748" y="1188"/>
                <a:ext cx="29" cy="15"/>
              </a:xfrm>
              <a:custGeom>
                <a:avLst/>
                <a:gdLst/>
                <a:ahLst/>
                <a:cxnLst/>
                <a:rect l="l" t="t" r="r" b="b"/>
                <a:pathLst>
                  <a:path w="93" h="50" extrusionOk="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9" name="Google Shape;949;p14"/>
              <p:cNvSpPr/>
              <p:nvPr/>
            </p:nvSpPr>
            <p:spPr>
              <a:xfrm>
                <a:off x="1436" y="1246"/>
                <a:ext cx="331" cy="198"/>
              </a:xfrm>
              <a:custGeom>
                <a:avLst/>
                <a:gdLst/>
                <a:ahLst/>
                <a:cxnLst/>
                <a:rect l="l" t="t" r="r" b="b"/>
                <a:pathLst>
                  <a:path w="1029" h="604" extrusionOk="0">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0" name="Google Shape;950;p14"/>
              <p:cNvSpPr/>
              <p:nvPr/>
            </p:nvSpPr>
            <p:spPr>
              <a:xfrm>
                <a:off x="1528" y="1110"/>
                <a:ext cx="409" cy="105"/>
              </a:xfrm>
              <a:custGeom>
                <a:avLst/>
                <a:gdLst/>
                <a:ahLst/>
                <a:cxnLst/>
                <a:rect l="l" t="t" r="r" b="b"/>
                <a:pathLst>
                  <a:path w="1268" h="321" extrusionOk="0">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1" name="Google Shape;951;p14"/>
              <p:cNvSpPr/>
              <p:nvPr/>
            </p:nvSpPr>
            <p:spPr>
              <a:xfrm>
                <a:off x="553" y="1660"/>
                <a:ext cx="51" cy="38"/>
              </a:xfrm>
              <a:custGeom>
                <a:avLst/>
                <a:gdLst/>
                <a:ahLst/>
                <a:cxnLst/>
                <a:rect l="l" t="t" r="r" b="b"/>
                <a:pathLst>
                  <a:path w="160" h="117" extrusionOk="0">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2" name="Google Shape;952;p14"/>
              <p:cNvSpPr/>
              <p:nvPr/>
            </p:nvSpPr>
            <p:spPr>
              <a:xfrm>
                <a:off x="527" y="1592"/>
                <a:ext cx="26" cy="46"/>
              </a:xfrm>
              <a:custGeom>
                <a:avLst/>
                <a:gdLst/>
                <a:ahLst/>
                <a:cxnLst/>
                <a:rect l="l" t="t" r="r" b="b"/>
                <a:pathLst>
                  <a:path w="80" h="141" extrusionOk="0">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3" name="Google Shape;953;p14"/>
              <p:cNvSpPr/>
              <p:nvPr/>
            </p:nvSpPr>
            <p:spPr>
              <a:xfrm>
                <a:off x="1379" y="1383"/>
                <a:ext cx="83" cy="41"/>
              </a:xfrm>
              <a:custGeom>
                <a:avLst/>
                <a:gdLst/>
                <a:ahLst/>
                <a:cxnLst/>
                <a:rect l="l" t="t" r="r" b="b"/>
                <a:pathLst>
                  <a:path w="259" h="124" extrusionOk="0">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4" name="Google Shape;954;p14"/>
              <p:cNvSpPr/>
              <p:nvPr/>
            </p:nvSpPr>
            <p:spPr>
              <a:xfrm>
                <a:off x="1509" y="1389"/>
                <a:ext cx="38" cy="19"/>
              </a:xfrm>
              <a:custGeom>
                <a:avLst/>
                <a:gdLst/>
                <a:ahLst/>
                <a:cxnLst/>
                <a:rect l="l" t="t" r="r" b="b"/>
                <a:pathLst>
                  <a:path w="119" h="57" extrusionOk="0">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5" name="Google Shape;955;p14"/>
              <p:cNvSpPr/>
              <p:nvPr/>
            </p:nvSpPr>
            <p:spPr>
              <a:xfrm>
                <a:off x="1554" y="1335"/>
                <a:ext cx="34" cy="17"/>
              </a:xfrm>
              <a:custGeom>
                <a:avLst/>
                <a:gdLst/>
                <a:ahLst/>
                <a:cxnLst/>
                <a:rect l="l" t="t" r="r" b="b"/>
                <a:pathLst>
                  <a:path w="107" h="52" extrusionOk="0">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6" name="Google Shape;956;p14"/>
              <p:cNvSpPr/>
              <p:nvPr/>
            </p:nvSpPr>
            <p:spPr>
              <a:xfrm>
                <a:off x="1381" y="1244"/>
                <a:ext cx="79" cy="32"/>
              </a:xfrm>
              <a:custGeom>
                <a:avLst/>
                <a:gdLst/>
                <a:ahLst/>
                <a:cxnLst/>
                <a:rect l="l" t="t" r="r" b="b"/>
                <a:pathLst>
                  <a:path w="246" h="99" extrusionOk="0">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7" name="Google Shape;957;p14"/>
              <p:cNvSpPr/>
              <p:nvPr/>
            </p:nvSpPr>
            <p:spPr>
              <a:xfrm>
                <a:off x="1294" y="1248"/>
                <a:ext cx="76" cy="40"/>
              </a:xfrm>
              <a:custGeom>
                <a:avLst/>
                <a:gdLst/>
                <a:ahLst/>
                <a:cxnLst/>
                <a:rect l="l" t="t" r="r" b="b"/>
                <a:pathLst>
                  <a:path w="233" h="123" extrusionOk="0">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8" name="Google Shape;958;p14"/>
              <p:cNvSpPr/>
              <p:nvPr/>
            </p:nvSpPr>
            <p:spPr>
              <a:xfrm>
                <a:off x="983" y="1236"/>
                <a:ext cx="157" cy="56"/>
              </a:xfrm>
              <a:custGeom>
                <a:avLst/>
                <a:gdLst/>
                <a:ahLst/>
                <a:cxnLst/>
                <a:rect l="l" t="t" r="r" b="b"/>
                <a:pathLst>
                  <a:path w="484" h="172" extrusionOk="0">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9" name="Google Shape;959;p14"/>
              <p:cNvSpPr/>
              <p:nvPr/>
            </p:nvSpPr>
            <p:spPr>
              <a:xfrm>
                <a:off x="1043" y="1255"/>
                <a:ext cx="221" cy="79"/>
              </a:xfrm>
              <a:custGeom>
                <a:avLst/>
                <a:gdLst/>
                <a:ahLst/>
                <a:cxnLst/>
                <a:rect l="l" t="t" r="r" b="b"/>
                <a:pathLst>
                  <a:path w="684" h="240" extrusionOk="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0" name="Google Shape;960;p14"/>
              <p:cNvSpPr/>
              <p:nvPr/>
            </p:nvSpPr>
            <p:spPr>
              <a:xfrm>
                <a:off x="1645" y="1643"/>
                <a:ext cx="108" cy="93"/>
              </a:xfrm>
              <a:custGeom>
                <a:avLst/>
                <a:gdLst/>
                <a:ahLst/>
                <a:cxnLst/>
                <a:rect l="l" t="t" r="r" b="b"/>
                <a:pathLst>
                  <a:path w="332" h="287" extrusionOk="0">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1" name="Google Shape;961;p14"/>
              <p:cNvSpPr/>
              <p:nvPr/>
            </p:nvSpPr>
            <p:spPr>
              <a:xfrm>
                <a:off x="1102" y="1190"/>
                <a:ext cx="111" cy="27"/>
              </a:xfrm>
              <a:custGeom>
                <a:avLst/>
                <a:gdLst/>
                <a:ahLst/>
                <a:cxnLst/>
                <a:rect l="l" t="t" r="r" b="b"/>
                <a:pathLst>
                  <a:path w="345" h="86" extrusionOk="0">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2" name="Google Shape;962;p14"/>
              <p:cNvSpPr/>
              <p:nvPr/>
            </p:nvSpPr>
            <p:spPr>
              <a:xfrm>
                <a:off x="1158" y="1199"/>
                <a:ext cx="149" cy="43"/>
              </a:xfrm>
              <a:custGeom>
                <a:avLst/>
                <a:gdLst/>
                <a:ahLst/>
                <a:cxnLst/>
                <a:rect l="l" t="t" r="r" b="b"/>
                <a:pathLst>
                  <a:path w="464" h="130" extrusionOk="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3" name="Google Shape;963;p14"/>
              <p:cNvSpPr/>
              <p:nvPr/>
            </p:nvSpPr>
            <p:spPr>
              <a:xfrm>
                <a:off x="1472" y="1205"/>
                <a:ext cx="153" cy="31"/>
              </a:xfrm>
              <a:custGeom>
                <a:avLst/>
                <a:gdLst/>
                <a:ahLst/>
                <a:cxnLst/>
                <a:rect l="l" t="t" r="r" b="b"/>
                <a:pathLst>
                  <a:path w="472" h="92" extrusionOk="0">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4" name="Google Shape;964;p14"/>
              <p:cNvSpPr/>
              <p:nvPr/>
            </p:nvSpPr>
            <p:spPr>
              <a:xfrm>
                <a:off x="1513" y="1136"/>
                <a:ext cx="106" cy="45"/>
              </a:xfrm>
              <a:custGeom>
                <a:avLst/>
                <a:gdLst/>
                <a:ahLst/>
                <a:cxnLst/>
                <a:rect l="l" t="t" r="r" b="b"/>
                <a:pathLst>
                  <a:path w="326" h="135" extrusionOk="0">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5" name="Google Shape;965;p14"/>
              <p:cNvSpPr/>
              <p:nvPr/>
            </p:nvSpPr>
            <p:spPr>
              <a:xfrm>
                <a:off x="1584" y="1245"/>
                <a:ext cx="51" cy="18"/>
              </a:xfrm>
              <a:custGeom>
                <a:avLst/>
                <a:gdLst/>
                <a:ahLst/>
                <a:cxnLst/>
                <a:rect l="l" t="t" r="r" b="b"/>
                <a:pathLst>
                  <a:path w="159" h="56" extrusionOk="0">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6" name="Google Shape;966;p14"/>
              <p:cNvSpPr/>
              <p:nvPr/>
            </p:nvSpPr>
            <p:spPr>
              <a:xfrm>
                <a:off x="534" y="1280"/>
                <a:ext cx="1205" cy="539"/>
              </a:xfrm>
              <a:custGeom>
                <a:avLst/>
                <a:gdLst/>
                <a:ahLst/>
                <a:cxnLst/>
                <a:rect l="l" t="t" r="r" b="b"/>
                <a:pathLst>
                  <a:path w="3734" h="1644" extrusionOk="0">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967" name="Google Shape;967;p14"/>
            <p:cNvSpPr/>
            <p:nvPr/>
          </p:nvSpPr>
          <p:spPr>
            <a:xfrm>
              <a:off x="4689883" y="3665592"/>
              <a:ext cx="127000" cy="158750"/>
            </a:xfrm>
            <a:custGeom>
              <a:avLst/>
              <a:gdLst/>
              <a:ahLst/>
              <a:cxnLst/>
              <a:rect l="l" t="t" r="r" b="b"/>
              <a:pathLst>
                <a:path w="292" h="308" extrusionOk="0">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68" name="Google Shape;968;p14"/>
            <p:cNvSpPr/>
            <p:nvPr/>
          </p:nvSpPr>
          <p:spPr>
            <a:xfrm>
              <a:off x="4796245" y="3816404"/>
              <a:ext cx="6350" cy="57150"/>
            </a:xfrm>
            <a:custGeom>
              <a:avLst/>
              <a:gdLst/>
              <a:ahLst/>
              <a:cxnLst/>
              <a:rect l="l" t="t" r="r" b="b"/>
              <a:pathLst>
                <a:path w="14" h="7" extrusionOk="0">
                  <a:moveTo>
                    <a:pt x="11" y="0"/>
                  </a:moveTo>
                  <a:lnTo>
                    <a:pt x="13" y="3"/>
                  </a:lnTo>
                  <a:lnTo>
                    <a:pt x="14" y="7"/>
                  </a:lnTo>
                  <a:lnTo>
                    <a:pt x="0" y="7"/>
                  </a:lnTo>
                  <a:lnTo>
                    <a:pt x="1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69" name="Google Shape;969;p14"/>
            <p:cNvSpPr/>
            <p:nvPr/>
          </p:nvSpPr>
          <p:spPr>
            <a:xfrm>
              <a:off x="4286658" y="3052817"/>
              <a:ext cx="249237" cy="500062"/>
            </a:xfrm>
            <a:custGeom>
              <a:avLst/>
              <a:gdLst/>
              <a:ahLst/>
              <a:cxnLst/>
              <a:rect l="l" t="t" r="r" b="b"/>
              <a:pathLst>
                <a:path w="581" h="955" extrusionOk="0">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0" name="Google Shape;970;p14"/>
            <p:cNvSpPr/>
            <p:nvPr/>
          </p:nvSpPr>
          <p:spPr>
            <a:xfrm>
              <a:off x="3962808" y="2435279"/>
              <a:ext cx="15875" cy="57150"/>
            </a:xfrm>
            <a:custGeom>
              <a:avLst/>
              <a:gdLst/>
              <a:ahLst/>
              <a:cxnLst/>
              <a:rect l="l" t="t" r="r" b="b"/>
              <a:pathLst>
                <a:path w="45" h="36" extrusionOk="0">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971" name="Google Shape;971;p14"/>
            <p:cNvGrpSpPr/>
            <p:nvPr/>
          </p:nvGrpSpPr>
          <p:grpSpPr>
            <a:xfrm>
              <a:off x="2262595" y="4495854"/>
              <a:ext cx="384175" cy="1031875"/>
              <a:chOff x="1589" y="3126"/>
              <a:chExt cx="290" cy="657"/>
            </a:xfrm>
          </p:grpSpPr>
          <p:sp>
            <p:nvSpPr>
              <p:cNvPr id="972" name="Google Shape;972;p14"/>
              <p:cNvSpPr/>
              <p:nvPr/>
            </p:nvSpPr>
            <p:spPr>
              <a:xfrm>
                <a:off x="1748" y="3531"/>
                <a:ext cx="15" cy="17"/>
              </a:xfrm>
              <a:custGeom>
                <a:avLst/>
                <a:gdLst/>
                <a:ahLst/>
                <a:cxnLst/>
                <a:rect l="l" t="t" r="r" b="b"/>
                <a:pathLst>
                  <a:path w="46" h="51" extrusionOk="0">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73" name="Google Shape;973;p14"/>
              <p:cNvSpPr/>
              <p:nvPr/>
            </p:nvSpPr>
            <p:spPr>
              <a:xfrm>
                <a:off x="1759" y="3730"/>
                <a:ext cx="63" cy="53"/>
              </a:xfrm>
              <a:custGeom>
                <a:avLst/>
                <a:gdLst/>
                <a:ahLst/>
                <a:cxnLst/>
                <a:rect l="l" t="t" r="r" b="b"/>
                <a:pathLst>
                  <a:path w="192" h="158" extrusionOk="0">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74" name="Google Shape;974;p14"/>
              <p:cNvSpPr/>
              <p:nvPr/>
            </p:nvSpPr>
            <p:spPr>
              <a:xfrm>
                <a:off x="1589" y="3126"/>
                <a:ext cx="290" cy="606"/>
              </a:xfrm>
              <a:custGeom>
                <a:avLst/>
                <a:gdLst/>
                <a:ahLst/>
                <a:cxnLst/>
                <a:rect l="l" t="t" r="r" b="b"/>
                <a:pathLst>
                  <a:path w="884" h="1818" extrusionOk="0">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975" name="Google Shape;975;p14"/>
            <p:cNvSpPr/>
            <p:nvPr/>
          </p:nvSpPr>
          <p:spPr>
            <a:xfrm>
              <a:off x="4972458" y="2447979"/>
              <a:ext cx="123825" cy="109538"/>
            </a:xfrm>
            <a:custGeom>
              <a:avLst/>
              <a:gdLst/>
              <a:ahLst/>
              <a:cxnLst/>
              <a:rect l="l" t="t" r="r" b="b"/>
              <a:pathLst>
                <a:path w="279" h="204" extrusionOk="0">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6" name="Google Shape;976;p14"/>
            <p:cNvSpPr/>
            <p:nvPr/>
          </p:nvSpPr>
          <p:spPr>
            <a:xfrm>
              <a:off x="4439058" y="2020942"/>
              <a:ext cx="209550" cy="150812"/>
            </a:xfrm>
            <a:custGeom>
              <a:avLst/>
              <a:gdLst/>
              <a:ahLst/>
              <a:cxnLst/>
              <a:rect l="l" t="t" r="r" b="b"/>
              <a:pathLst>
                <a:path w="485" h="291" extrusionOk="0">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accent6">
                <a:lumMod val="25000"/>
                <a:lumOff val="75000"/>
              </a:schemeClr>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7" name="Google Shape;977;p14"/>
            <p:cNvSpPr/>
            <p:nvPr/>
          </p:nvSpPr>
          <p:spPr>
            <a:xfrm>
              <a:off x="4296183" y="2352729"/>
              <a:ext cx="82550" cy="87313"/>
            </a:xfrm>
            <a:custGeom>
              <a:avLst/>
              <a:gdLst/>
              <a:ahLst/>
              <a:cxnLst/>
              <a:rect l="l" t="t" r="r" b="b"/>
              <a:pathLst>
                <a:path w="186" h="166" extrusionOk="0">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8" name="Google Shape;978;p14"/>
            <p:cNvSpPr/>
            <p:nvPr/>
          </p:nvSpPr>
          <p:spPr>
            <a:xfrm>
              <a:off x="2661058" y="3789417"/>
              <a:ext cx="82550" cy="57150"/>
            </a:xfrm>
            <a:custGeom>
              <a:avLst/>
              <a:gdLst/>
              <a:ahLst/>
              <a:cxnLst/>
              <a:rect l="l" t="t" r="r" b="b"/>
              <a:pathLst>
                <a:path w="186" h="104" extrusionOk="0">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9" name="Google Shape;979;p14"/>
            <p:cNvSpPr/>
            <p:nvPr/>
          </p:nvSpPr>
          <p:spPr>
            <a:xfrm>
              <a:off x="4454933" y="2387654"/>
              <a:ext cx="133350" cy="96838"/>
            </a:xfrm>
            <a:custGeom>
              <a:avLst/>
              <a:gdLst/>
              <a:ahLst/>
              <a:cxnLst/>
              <a:rect l="l" t="t" r="r" b="b"/>
              <a:pathLst>
                <a:path w="311" h="179" extrusionOk="0">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0" name="Google Shape;980;p14"/>
            <p:cNvSpPr/>
            <p:nvPr/>
          </p:nvSpPr>
          <p:spPr>
            <a:xfrm>
              <a:off x="3810408" y="3314754"/>
              <a:ext cx="177800" cy="165100"/>
            </a:xfrm>
            <a:custGeom>
              <a:avLst/>
              <a:gdLst/>
              <a:ahLst/>
              <a:cxnLst/>
              <a:rect l="l" t="t" r="r" b="b"/>
              <a:pathLst>
                <a:path w="405" h="314" extrusionOk="0">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1" name="Google Shape;981;p14"/>
            <p:cNvSpPr/>
            <p:nvPr/>
          </p:nvSpPr>
          <p:spPr>
            <a:xfrm>
              <a:off x="4158070" y="3383017"/>
              <a:ext cx="193675" cy="349250"/>
            </a:xfrm>
            <a:custGeom>
              <a:avLst/>
              <a:gdLst/>
              <a:ahLst/>
              <a:cxnLst/>
              <a:rect l="l" t="t" r="r" b="b"/>
              <a:pathLst>
                <a:path w="453" h="661" extrusionOk="0">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2" name="Google Shape;982;p14"/>
            <p:cNvSpPr/>
            <p:nvPr/>
          </p:nvSpPr>
          <p:spPr>
            <a:xfrm>
              <a:off x="6609170" y="3141717"/>
              <a:ext cx="55563" cy="57150"/>
            </a:xfrm>
            <a:custGeom>
              <a:avLst/>
              <a:gdLst/>
              <a:ahLst/>
              <a:cxnLst/>
              <a:rect l="l" t="t" r="r" b="b"/>
              <a:pathLst>
                <a:path w="126" h="105" extrusionOk="0">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3" name="Google Shape;983;p14"/>
            <p:cNvSpPr/>
            <p:nvPr/>
          </p:nvSpPr>
          <p:spPr>
            <a:xfrm>
              <a:off x="1964145" y="3405242"/>
              <a:ext cx="298450" cy="523875"/>
            </a:xfrm>
            <a:custGeom>
              <a:avLst/>
              <a:gdLst/>
              <a:ahLst/>
              <a:cxnLst/>
              <a:rect l="l" t="t" r="r" b="b"/>
              <a:pathLst>
                <a:path w="684" h="998" extrusionOk="0">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4" name="Google Shape;984;p14"/>
            <p:cNvSpPr/>
            <p:nvPr/>
          </p:nvSpPr>
          <p:spPr>
            <a:xfrm>
              <a:off x="4216808" y="3673529"/>
              <a:ext cx="187325" cy="274638"/>
            </a:xfrm>
            <a:custGeom>
              <a:avLst/>
              <a:gdLst/>
              <a:ahLst/>
              <a:cxnLst/>
              <a:rect l="l" t="t" r="r" b="b"/>
              <a:pathLst>
                <a:path w="429" h="524" extrusionOk="0">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5" name="Google Shape;985;p14"/>
            <p:cNvSpPr/>
            <p:nvPr/>
          </p:nvSpPr>
          <p:spPr>
            <a:xfrm>
              <a:off x="4248558" y="2316217"/>
              <a:ext cx="127000" cy="114300"/>
            </a:xfrm>
            <a:custGeom>
              <a:avLst/>
              <a:gdLst/>
              <a:ahLst/>
              <a:cxnLst/>
              <a:rect l="l" t="t" r="r" b="b"/>
              <a:pathLst>
                <a:path w="292" h="223" extrusionOk="0">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6" name="Google Shape;986;p14"/>
            <p:cNvSpPr/>
            <p:nvPr/>
          </p:nvSpPr>
          <p:spPr>
            <a:xfrm>
              <a:off x="4199345" y="2174929"/>
              <a:ext cx="168275" cy="77788"/>
            </a:xfrm>
            <a:custGeom>
              <a:avLst/>
              <a:gdLst/>
              <a:ahLst/>
              <a:cxnLst/>
              <a:rect l="l" t="t" r="r" b="b"/>
              <a:pathLst>
                <a:path w="379" h="147" extrusionOk="0">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7" name="Google Shape;987;p14"/>
            <p:cNvSpPr/>
            <p:nvPr/>
          </p:nvSpPr>
          <p:spPr>
            <a:xfrm>
              <a:off x="4162833" y="2030467"/>
              <a:ext cx="30162" cy="60325"/>
            </a:xfrm>
            <a:custGeom>
              <a:avLst/>
              <a:gdLst/>
              <a:ahLst/>
              <a:cxnLst/>
              <a:rect l="l" t="t" r="r" b="b"/>
              <a:pathLst>
                <a:path w="61" h="67" extrusionOk="0">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8" name="Google Shape;988;p14"/>
            <p:cNvSpPr/>
            <p:nvPr/>
          </p:nvSpPr>
          <p:spPr>
            <a:xfrm>
              <a:off x="4134258" y="2035229"/>
              <a:ext cx="25400" cy="58738"/>
            </a:xfrm>
            <a:custGeom>
              <a:avLst/>
              <a:gdLst/>
              <a:ahLst/>
              <a:cxnLst/>
              <a:rect l="l" t="t" r="r" b="b"/>
              <a:pathLst>
                <a:path w="60" h="55" extrusionOk="0">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9" name="Google Shape;989;p14"/>
            <p:cNvSpPr/>
            <p:nvPr/>
          </p:nvSpPr>
          <p:spPr>
            <a:xfrm>
              <a:off x="4104095" y="1981254"/>
              <a:ext cx="52388" cy="77788"/>
            </a:xfrm>
            <a:custGeom>
              <a:avLst/>
              <a:gdLst/>
              <a:ahLst/>
              <a:cxnLst/>
              <a:rect l="l" t="t" r="r" b="b"/>
              <a:pathLst>
                <a:path w="120" h="148" extrusionOk="0">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0" name="Google Shape;990;p14"/>
            <p:cNvSpPr/>
            <p:nvPr/>
          </p:nvSpPr>
          <p:spPr>
            <a:xfrm>
              <a:off x="4535895" y="2786117"/>
              <a:ext cx="273050" cy="307975"/>
            </a:xfrm>
            <a:custGeom>
              <a:avLst/>
              <a:gdLst/>
              <a:ahLst/>
              <a:cxnLst/>
              <a:rect l="l" t="t" r="r" b="b"/>
              <a:pathLst>
                <a:path w="631" h="592" extrusionOk="0">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336699"/>
            </a:solidFill>
            <a:ln w="9525" cap="flat" cmpd="sng">
              <a:no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1" name="Google Shape;991;p14"/>
            <p:cNvSpPr/>
            <p:nvPr/>
          </p:nvSpPr>
          <p:spPr>
            <a:xfrm>
              <a:off x="4131083" y="2420992"/>
              <a:ext cx="17462" cy="57150"/>
            </a:xfrm>
            <a:custGeom>
              <a:avLst/>
              <a:gdLst/>
              <a:ahLst/>
              <a:cxnLst/>
              <a:rect l="l" t="t" r="r" b="b"/>
              <a:pathLst>
                <a:path w="40" h="93" extrusionOk="0">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2" name="Google Shape;992;p14"/>
            <p:cNvSpPr/>
            <p:nvPr/>
          </p:nvSpPr>
          <p:spPr>
            <a:xfrm>
              <a:off x="3770720" y="2171754"/>
              <a:ext cx="295275" cy="273050"/>
            </a:xfrm>
            <a:custGeom>
              <a:avLst/>
              <a:gdLst/>
              <a:ahLst/>
              <a:cxnLst/>
              <a:rect l="l" t="t" r="r" b="b"/>
              <a:pathLst>
                <a:path w="664" h="518" extrusionOk="0">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3" name="Google Shape;993;p14"/>
            <p:cNvSpPr/>
            <p:nvPr/>
          </p:nvSpPr>
          <p:spPr>
            <a:xfrm>
              <a:off x="4851808" y="2406704"/>
              <a:ext cx="150812" cy="82550"/>
            </a:xfrm>
            <a:custGeom>
              <a:avLst/>
              <a:gdLst/>
              <a:ahLst/>
              <a:cxnLst/>
              <a:rect l="l" t="t" r="r" b="b"/>
              <a:pathLst>
                <a:path w="352" h="153" extrusionOk="0">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4" name="Google Shape;994;p14"/>
            <p:cNvSpPr/>
            <p:nvPr/>
          </p:nvSpPr>
          <p:spPr>
            <a:xfrm>
              <a:off x="4400958" y="2467029"/>
              <a:ext cx="147637" cy="173038"/>
            </a:xfrm>
            <a:custGeom>
              <a:avLst/>
              <a:gdLst/>
              <a:ahLst/>
              <a:cxnLst/>
              <a:rect l="l" t="t" r="r" b="b"/>
              <a:pathLst>
                <a:path w="331" h="327" extrusionOk="0">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5" name="Google Shape;995;p14"/>
            <p:cNvSpPr/>
            <p:nvPr/>
          </p:nvSpPr>
          <p:spPr>
            <a:xfrm>
              <a:off x="4485095" y="2659117"/>
              <a:ext cx="69850" cy="57150"/>
            </a:xfrm>
            <a:custGeom>
              <a:avLst/>
              <a:gdLst/>
              <a:ahLst/>
              <a:cxnLst/>
              <a:rect l="l" t="t" r="r" b="b"/>
              <a:pathLst>
                <a:path w="153" h="49" extrusionOk="0">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6" name="Google Shape;996;p14"/>
            <p:cNvSpPr/>
            <p:nvPr/>
          </p:nvSpPr>
          <p:spPr>
            <a:xfrm>
              <a:off x="3564345" y="3390954"/>
              <a:ext cx="187325" cy="158750"/>
            </a:xfrm>
            <a:custGeom>
              <a:avLst/>
              <a:gdLst/>
              <a:ahLst/>
              <a:cxnLst/>
              <a:rect l="l" t="t" r="r" b="b"/>
              <a:pathLst>
                <a:path w="426" h="299" extrusionOk="0">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7" name="Google Shape;997;p14"/>
            <p:cNvSpPr/>
            <p:nvPr/>
          </p:nvSpPr>
          <p:spPr>
            <a:xfrm>
              <a:off x="5609045" y="2654354"/>
              <a:ext cx="692150" cy="874713"/>
            </a:xfrm>
            <a:custGeom>
              <a:avLst/>
              <a:gdLst/>
              <a:ahLst/>
              <a:cxnLst/>
              <a:rect l="l" t="t" r="r" b="b"/>
              <a:pathLst>
                <a:path w="1594" h="1670" extrusionOk="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8" name="Google Shape;998;p14"/>
            <p:cNvSpPr/>
            <p:nvPr/>
          </p:nvSpPr>
          <p:spPr>
            <a:xfrm>
              <a:off x="3731033" y="3449692"/>
              <a:ext cx="158750" cy="206375"/>
            </a:xfrm>
            <a:custGeom>
              <a:avLst/>
              <a:gdLst/>
              <a:ahLst/>
              <a:cxnLst/>
              <a:rect l="l" t="t" r="r" b="b"/>
              <a:pathLst>
                <a:path w="359" h="394" extrusionOk="0">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9" name="Google Shape;999;p14"/>
            <p:cNvSpPr/>
            <p:nvPr/>
          </p:nvSpPr>
          <p:spPr>
            <a:xfrm>
              <a:off x="4799420" y="3644954"/>
              <a:ext cx="192088" cy="271463"/>
            </a:xfrm>
            <a:custGeom>
              <a:avLst/>
              <a:gdLst/>
              <a:ahLst/>
              <a:cxnLst/>
              <a:rect l="l" t="t" r="r" b="b"/>
              <a:pathLst>
                <a:path w="449" h="523" extrusionOk="0">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0" name="Google Shape;1000;p14"/>
            <p:cNvSpPr/>
            <p:nvPr/>
          </p:nvSpPr>
          <p:spPr>
            <a:xfrm>
              <a:off x="4781958" y="2730554"/>
              <a:ext cx="101600" cy="130175"/>
            </a:xfrm>
            <a:custGeom>
              <a:avLst/>
              <a:gdLst/>
              <a:ahLst/>
              <a:cxnLst/>
              <a:rect l="l" t="t" r="r" b="b"/>
              <a:pathLst>
                <a:path w="226" h="246" extrusionOk="0">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1" name="Google Shape;1001;p14"/>
            <p:cNvSpPr/>
            <p:nvPr/>
          </p:nvSpPr>
          <p:spPr>
            <a:xfrm>
              <a:off x="5080408" y="2833742"/>
              <a:ext cx="22225" cy="55562"/>
            </a:xfrm>
            <a:custGeom>
              <a:avLst/>
              <a:gdLst/>
              <a:ahLst/>
              <a:cxnLst/>
              <a:rect l="l" t="t" r="r" b="b"/>
              <a:pathLst>
                <a:path w="60" h="81" extrusionOk="0">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2" name="Google Shape;1002;p14"/>
            <p:cNvSpPr/>
            <p:nvPr/>
          </p:nvSpPr>
          <p:spPr>
            <a:xfrm>
              <a:off x="4367620" y="1968554"/>
              <a:ext cx="161925" cy="66675"/>
            </a:xfrm>
            <a:custGeom>
              <a:avLst/>
              <a:gdLst/>
              <a:ahLst/>
              <a:cxnLst/>
              <a:rect l="l" t="t" r="r" b="b"/>
              <a:pathLst>
                <a:path w="370" h="129" extrusionOk="0">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3" name="Google Shape;1003;p14"/>
            <p:cNvSpPr/>
            <p:nvPr/>
          </p:nvSpPr>
          <p:spPr>
            <a:xfrm>
              <a:off x="4778783" y="2689279"/>
              <a:ext cx="30162" cy="57150"/>
            </a:xfrm>
            <a:custGeom>
              <a:avLst/>
              <a:gdLst/>
              <a:ahLst/>
              <a:cxnLst/>
              <a:rect l="l" t="t" r="r" b="b"/>
              <a:pathLst>
                <a:path w="80" h="94" extrusionOk="0">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4" name="Google Shape;1004;p14"/>
            <p:cNvSpPr/>
            <p:nvPr/>
          </p:nvSpPr>
          <p:spPr>
            <a:xfrm>
              <a:off x="4594633" y="4700642"/>
              <a:ext cx="61912" cy="57150"/>
            </a:xfrm>
            <a:custGeom>
              <a:avLst/>
              <a:gdLst/>
              <a:ahLst/>
              <a:cxnLst/>
              <a:rect l="l" t="t" r="r" b="b"/>
              <a:pathLst>
                <a:path w="135" h="98" extrusionOk="0">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5" name="Google Shape;1005;p14"/>
            <p:cNvSpPr/>
            <p:nvPr/>
          </p:nvSpPr>
          <p:spPr>
            <a:xfrm>
              <a:off x="4366033" y="2016179"/>
              <a:ext cx="131762" cy="84138"/>
            </a:xfrm>
            <a:custGeom>
              <a:avLst/>
              <a:gdLst/>
              <a:ahLst/>
              <a:cxnLst/>
              <a:rect l="l" t="t" r="r" b="b"/>
              <a:pathLst>
                <a:path w="312" h="155" extrusionOk="0">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6" name="Google Shape;1006;p14"/>
            <p:cNvSpPr/>
            <p:nvPr/>
          </p:nvSpPr>
          <p:spPr>
            <a:xfrm>
              <a:off x="4072345" y="2201917"/>
              <a:ext cx="19050" cy="60325"/>
            </a:xfrm>
            <a:custGeom>
              <a:avLst/>
              <a:gdLst/>
              <a:ahLst/>
              <a:cxnLst/>
              <a:rect l="l" t="t" r="r" b="b"/>
              <a:pathLst>
                <a:path w="46" h="50" extrusionOk="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7" name="Google Shape;1007;p14"/>
            <p:cNvSpPr/>
            <p:nvPr/>
          </p:nvSpPr>
          <p:spPr>
            <a:xfrm>
              <a:off x="4769258" y="4086279"/>
              <a:ext cx="69850" cy="241300"/>
            </a:xfrm>
            <a:custGeom>
              <a:avLst/>
              <a:gdLst/>
              <a:ahLst/>
              <a:cxnLst/>
              <a:rect l="l" t="t" r="r" b="b"/>
              <a:pathLst>
                <a:path w="166" h="456" extrusionOk="0">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8" name="Google Shape;1008;p14"/>
            <p:cNvSpPr/>
            <p:nvPr/>
          </p:nvSpPr>
          <p:spPr>
            <a:xfrm>
              <a:off x="4261258" y="2657529"/>
              <a:ext cx="14287" cy="57150"/>
            </a:xfrm>
            <a:custGeom>
              <a:avLst/>
              <a:gdLst/>
              <a:ahLst/>
              <a:cxnLst/>
              <a:rect l="l" t="t" r="r" b="b"/>
              <a:pathLst>
                <a:path w="27" h="19" extrusionOk="0">
                  <a:moveTo>
                    <a:pt x="27" y="0"/>
                  </a:moveTo>
                  <a:lnTo>
                    <a:pt x="27" y="12"/>
                  </a:lnTo>
                  <a:lnTo>
                    <a:pt x="27" y="19"/>
                  </a:lnTo>
                  <a:lnTo>
                    <a:pt x="9" y="19"/>
                  </a:lnTo>
                  <a:lnTo>
                    <a:pt x="0" y="19"/>
                  </a:lnTo>
                  <a:lnTo>
                    <a:pt x="9" y="12"/>
                  </a:lnTo>
                  <a:lnTo>
                    <a:pt x="2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9" name="Google Shape;1009;p14"/>
            <p:cNvSpPr/>
            <p:nvPr/>
          </p:nvSpPr>
          <p:spPr>
            <a:xfrm>
              <a:off x="4580345" y="4278367"/>
              <a:ext cx="188913" cy="217487"/>
            </a:xfrm>
            <a:custGeom>
              <a:avLst/>
              <a:gdLst/>
              <a:ahLst/>
              <a:cxnLst/>
              <a:rect l="l" t="t" r="r" b="b"/>
              <a:pathLst>
                <a:path w="438" h="406" extrusionOk="0">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0" name="Google Shape;1010;p14"/>
            <p:cNvSpPr/>
            <p:nvPr/>
          </p:nvSpPr>
          <p:spPr>
            <a:xfrm>
              <a:off x="4493033" y="4054529"/>
              <a:ext cx="293687" cy="300038"/>
            </a:xfrm>
            <a:custGeom>
              <a:avLst/>
              <a:gdLst/>
              <a:ahLst/>
              <a:cxnLst/>
              <a:rect l="l" t="t" r="r" b="b"/>
              <a:pathLst>
                <a:path w="678" h="574" extrusionOk="0">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1" name="Google Shape;1011;p14"/>
            <p:cNvSpPr/>
            <p:nvPr/>
          </p:nvSpPr>
          <p:spPr>
            <a:xfrm>
              <a:off x="4229508" y="4327579"/>
              <a:ext cx="350837" cy="381000"/>
            </a:xfrm>
            <a:custGeom>
              <a:avLst/>
              <a:gdLst/>
              <a:ahLst/>
              <a:cxnLst/>
              <a:rect l="l" t="t" r="r" b="b"/>
              <a:pathLst>
                <a:path w="810" h="727" extrusionOk="0">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2" name="Google Shape;1012;p14"/>
            <p:cNvSpPr/>
            <p:nvPr/>
          </p:nvSpPr>
          <p:spPr>
            <a:xfrm>
              <a:off x="3508783" y="3257604"/>
              <a:ext cx="161925" cy="141288"/>
            </a:xfrm>
            <a:custGeom>
              <a:avLst/>
              <a:gdLst/>
              <a:ahLst/>
              <a:cxnLst/>
              <a:rect l="l" t="t" r="r" b="b"/>
              <a:pathLst>
                <a:path w="365" h="271" extrusionOk="0">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3" name="Google Shape;1013;p14"/>
            <p:cNvSpPr/>
            <p:nvPr/>
          </p:nvSpPr>
          <p:spPr>
            <a:xfrm>
              <a:off x="4681945" y="3819579"/>
              <a:ext cx="269875" cy="334963"/>
            </a:xfrm>
            <a:custGeom>
              <a:avLst/>
              <a:gdLst/>
              <a:ahLst/>
              <a:cxnLst/>
              <a:rect l="l" t="t" r="r" b="b"/>
              <a:pathLst>
                <a:path w="624" h="640" extrusionOk="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4" name="Google Shape;1014;p14"/>
            <p:cNvSpPr/>
            <p:nvPr/>
          </p:nvSpPr>
          <p:spPr>
            <a:xfrm>
              <a:off x="7245758" y="2333679"/>
              <a:ext cx="19050" cy="57150"/>
            </a:xfrm>
            <a:custGeom>
              <a:avLst/>
              <a:gdLst/>
              <a:ahLst/>
              <a:cxnLst/>
              <a:rect l="l" t="t" r="r" b="b"/>
              <a:pathLst>
                <a:path w="52" h="50" extrusionOk="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5" name="Google Shape;1015;p14"/>
            <p:cNvSpPr/>
            <p:nvPr/>
          </p:nvSpPr>
          <p:spPr>
            <a:xfrm>
              <a:off x="7104470" y="2335267"/>
              <a:ext cx="141288" cy="125412"/>
            </a:xfrm>
            <a:custGeom>
              <a:avLst/>
              <a:gdLst/>
              <a:ahLst/>
              <a:cxnLst/>
              <a:rect l="l" t="t" r="r" b="b"/>
              <a:pathLst>
                <a:path w="320" h="234" extrusionOk="0">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6" name="Google Shape;1016;p14"/>
            <p:cNvSpPr/>
            <p:nvPr/>
          </p:nvSpPr>
          <p:spPr>
            <a:xfrm>
              <a:off x="7074308" y="2689279"/>
              <a:ext cx="52387" cy="57150"/>
            </a:xfrm>
            <a:custGeom>
              <a:avLst/>
              <a:gdLst/>
              <a:ahLst/>
              <a:cxnLst/>
              <a:rect l="l" t="t" r="r" b="b"/>
              <a:pathLst>
                <a:path w="125" h="93" extrusionOk="0">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7" name="Google Shape;1017;p14"/>
            <p:cNvSpPr/>
            <p:nvPr/>
          </p:nvSpPr>
          <p:spPr>
            <a:xfrm>
              <a:off x="7020333" y="2703567"/>
              <a:ext cx="60325" cy="84137"/>
            </a:xfrm>
            <a:custGeom>
              <a:avLst/>
              <a:gdLst/>
              <a:ahLst/>
              <a:cxnLst/>
              <a:rect l="l" t="t" r="r" b="b"/>
              <a:pathLst>
                <a:path w="133" h="154" extrusionOk="0">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8" name="Google Shape;1018;p14"/>
            <p:cNvSpPr/>
            <p:nvPr/>
          </p:nvSpPr>
          <p:spPr>
            <a:xfrm>
              <a:off x="7109181" y="2480549"/>
              <a:ext cx="209550" cy="244475"/>
            </a:xfrm>
            <a:custGeom>
              <a:avLst/>
              <a:gdLst/>
              <a:ahLst/>
              <a:cxnLst/>
              <a:rect l="l" t="t" r="r" b="b"/>
              <a:pathLst>
                <a:path w="485" h="468" extrusionOk="0">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9" name="Google Shape;1019;p14"/>
            <p:cNvSpPr/>
            <p:nvPr/>
          </p:nvSpPr>
          <p:spPr>
            <a:xfrm>
              <a:off x="4620033" y="1355779"/>
              <a:ext cx="107950" cy="60325"/>
            </a:xfrm>
            <a:custGeom>
              <a:avLst/>
              <a:gdLst/>
              <a:ahLst/>
              <a:cxnLst/>
              <a:rect l="l" t="t" r="r" b="b"/>
              <a:pathLst>
                <a:path w="246" h="42" extrusionOk="0">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0" name="Google Shape;1020;p14"/>
            <p:cNvSpPr/>
            <p:nvPr/>
          </p:nvSpPr>
          <p:spPr>
            <a:xfrm>
              <a:off x="4762908" y="1338317"/>
              <a:ext cx="63500" cy="57150"/>
            </a:xfrm>
            <a:custGeom>
              <a:avLst/>
              <a:gdLst/>
              <a:ahLst/>
              <a:cxnLst/>
              <a:rect l="l" t="t" r="r" b="b"/>
              <a:pathLst>
                <a:path w="149" h="61" extrusionOk="0">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1" name="Google Shape;1021;p14"/>
            <p:cNvSpPr/>
            <p:nvPr/>
          </p:nvSpPr>
          <p:spPr>
            <a:xfrm>
              <a:off x="4799420" y="1346254"/>
              <a:ext cx="130175" cy="57150"/>
            </a:xfrm>
            <a:custGeom>
              <a:avLst/>
              <a:gdLst/>
              <a:ahLst/>
              <a:cxnLst/>
              <a:rect l="l" t="t" r="r" b="b"/>
              <a:pathLst>
                <a:path w="299" h="74" extrusionOk="0">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2" name="Google Shape;1022;p14"/>
            <p:cNvSpPr/>
            <p:nvPr/>
          </p:nvSpPr>
          <p:spPr>
            <a:xfrm>
              <a:off x="5332820" y="1531992"/>
              <a:ext cx="41275" cy="57150"/>
            </a:xfrm>
            <a:custGeom>
              <a:avLst/>
              <a:gdLst/>
              <a:ahLst/>
              <a:cxnLst/>
              <a:rect l="l" t="t" r="r" b="b"/>
              <a:pathLst>
                <a:path w="100" h="42" extrusionOk="0">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3" name="Google Shape;1023;p14"/>
            <p:cNvSpPr/>
            <p:nvPr/>
          </p:nvSpPr>
          <p:spPr>
            <a:xfrm>
              <a:off x="5242333" y="1390704"/>
              <a:ext cx="15875" cy="58738"/>
            </a:xfrm>
            <a:custGeom>
              <a:avLst/>
              <a:gdLst/>
              <a:ahLst/>
              <a:cxnLst/>
              <a:rect l="l" t="t" r="r" b="b"/>
              <a:pathLst>
                <a:path w="40" h="5" extrusionOk="0">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4" name="Google Shape;1024;p14"/>
            <p:cNvSpPr/>
            <p:nvPr/>
          </p:nvSpPr>
          <p:spPr>
            <a:xfrm>
              <a:off x="5264558" y="1349429"/>
              <a:ext cx="14287" cy="60325"/>
            </a:xfrm>
            <a:custGeom>
              <a:avLst/>
              <a:gdLst/>
              <a:ahLst/>
              <a:cxnLst/>
              <a:rect l="l" t="t" r="r" b="b"/>
              <a:pathLst>
                <a:path w="33" h="31" extrusionOk="0">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5" name="Google Shape;1025;p14"/>
            <p:cNvSpPr/>
            <p:nvPr/>
          </p:nvSpPr>
          <p:spPr>
            <a:xfrm>
              <a:off x="5409020" y="1465317"/>
              <a:ext cx="17463" cy="57150"/>
            </a:xfrm>
            <a:custGeom>
              <a:avLst/>
              <a:gdLst/>
              <a:ahLst/>
              <a:cxnLst/>
              <a:rect l="l" t="t" r="r" b="b"/>
              <a:pathLst>
                <a:path w="41" h="43" extrusionOk="0">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6" name="Google Shape;1026;p14"/>
            <p:cNvSpPr/>
            <p:nvPr/>
          </p:nvSpPr>
          <p:spPr>
            <a:xfrm>
              <a:off x="5462995" y="1349429"/>
              <a:ext cx="93663" cy="60325"/>
            </a:xfrm>
            <a:custGeom>
              <a:avLst/>
              <a:gdLst/>
              <a:ahLst/>
              <a:cxnLst/>
              <a:rect l="l" t="t" r="r" b="b"/>
              <a:pathLst>
                <a:path w="213" h="62" extrusionOk="0">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7" name="Google Shape;1027;p14"/>
            <p:cNvSpPr/>
            <p:nvPr/>
          </p:nvSpPr>
          <p:spPr>
            <a:xfrm>
              <a:off x="5523320" y="1374829"/>
              <a:ext cx="103188" cy="60325"/>
            </a:xfrm>
            <a:custGeom>
              <a:avLst/>
              <a:gdLst/>
              <a:ahLst/>
              <a:cxnLst/>
              <a:rect l="l" t="t" r="r" b="b"/>
              <a:pathLst>
                <a:path w="239" h="56" extrusionOk="0">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8" name="Google Shape;1028;p14"/>
            <p:cNvSpPr/>
            <p:nvPr/>
          </p:nvSpPr>
          <p:spPr>
            <a:xfrm>
              <a:off x="5640795" y="1389117"/>
              <a:ext cx="82550" cy="57150"/>
            </a:xfrm>
            <a:custGeom>
              <a:avLst/>
              <a:gdLst/>
              <a:ahLst/>
              <a:cxnLst/>
              <a:rect l="l" t="t" r="r" b="b"/>
              <a:pathLst>
                <a:path w="187" h="80" extrusionOk="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9" name="Google Shape;1029;p14"/>
            <p:cNvSpPr/>
            <p:nvPr/>
          </p:nvSpPr>
          <p:spPr>
            <a:xfrm>
              <a:off x="6167845" y="1514529"/>
              <a:ext cx="79375" cy="58738"/>
            </a:xfrm>
            <a:custGeom>
              <a:avLst/>
              <a:gdLst/>
              <a:ahLst/>
              <a:cxnLst/>
              <a:rect l="l" t="t" r="r" b="b"/>
              <a:pathLst>
                <a:path w="183" h="73" extrusionOk="0">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0" name="Google Shape;1030;p14"/>
            <p:cNvSpPr/>
            <p:nvPr/>
          </p:nvSpPr>
          <p:spPr>
            <a:xfrm>
              <a:off x="6234520" y="1531992"/>
              <a:ext cx="33338" cy="57150"/>
            </a:xfrm>
            <a:custGeom>
              <a:avLst/>
              <a:gdLst/>
              <a:ahLst/>
              <a:cxnLst/>
              <a:rect l="l" t="t" r="r" b="b"/>
              <a:pathLst>
                <a:path w="79" h="42" extrusionOk="0">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1" name="Google Shape;1031;p14"/>
            <p:cNvSpPr/>
            <p:nvPr/>
          </p:nvSpPr>
          <p:spPr>
            <a:xfrm>
              <a:off x="6264683" y="1543104"/>
              <a:ext cx="52387" cy="58738"/>
            </a:xfrm>
            <a:custGeom>
              <a:avLst/>
              <a:gdLst/>
              <a:ahLst/>
              <a:cxnLst/>
              <a:rect l="l" t="t" r="r" b="b"/>
              <a:pathLst>
                <a:path w="113" h="52" extrusionOk="0">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2" name="Google Shape;1032;p14"/>
            <p:cNvSpPr/>
            <p:nvPr/>
          </p:nvSpPr>
          <p:spPr>
            <a:xfrm>
              <a:off x="6036083" y="1516117"/>
              <a:ext cx="61912" cy="58737"/>
            </a:xfrm>
            <a:custGeom>
              <a:avLst/>
              <a:gdLst/>
              <a:ahLst/>
              <a:cxnLst/>
              <a:rect l="l" t="t" r="r" b="b"/>
              <a:pathLst>
                <a:path w="139" h="40" extrusionOk="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3" name="Google Shape;1033;p14"/>
            <p:cNvSpPr/>
            <p:nvPr/>
          </p:nvSpPr>
          <p:spPr>
            <a:xfrm>
              <a:off x="6336120" y="1457379"/>
              <a:ext cx="139700" cy="57150"/>
            </a:xfrm>
            <a:custGeom>
              <a:avLst/>
              <a:gdLst/>
              <a:ahLst/>
              <a:cxnLst/>
              <a:rect l="l" t="t" r="r" b="b"/>
              <a:pathLst>
                <a:path w="325" h="71" extrusionOk="0">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4" name="Google Shape;1034;p14"/>
            <p:cNvSpPr/>
            <p:nvPr/>
          </p:nvSpPr>
          <p:spPr>
            <a:xfrm>
              <a:off x="6496458" y="1465317"/>
              <a:ext cx="95250" cy="57150"/>
            </a:xfrm>
            <a:custGeom>
              <a:avLst/>
              <a:gdLst/>
              <a:ahLst/>
              <a:cxnLst/>
              <a:rect l="l" t="t" r="r" b="b"/>
              <a:pathLst>
                <a:path w="220" h="72" extrusionOk="0">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5" name="Google Shape;1035;p14"/>
            <p:cNvSpPr/>
            <p:nvPr/>
          </p:nvSpPr>
          <p:spPr>
            <a:xfrm>
              <a:off x="6456770" y="1512942"/>
              <a:ext cx="63500" cy="58737"/>
            </a:xfrm>
            <a:custGeom>
              <a:avLst/>
              <a:gdLst/>
              <a:ahLst/>
              <a:cxnLst/>
              <a:rect l="l" t="t" r="r" b="b"/>
              <a:pathLst>
                <a:path w="146" h="30" extrusionOk="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6" name="Google Shape;1036;p14"/>
            <p:cNvSpPr/>
            <p:nvPr/>
          </p:nvSpPr>
          <p:spPr>
            <a:xfrm>
              <a:off x="6436133" y="1509767"/>
              <a:ext cx="20637" cy="58737"/>
            </a:xfrm>
            <a:custGeom>
              <a:avLst/>
              <a:gdLst/>
              <a:ahLst/>
              <a:cxnLst/>
              <a:rect l="l" t="t" r="r" b="b"/>
              <a:pathLst>
                <a:path w="53" h="9" extrusionOk="0">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1037" name="Google Shape;1037;p14"/>
            <p:cNvCxnSpPr/>
            <p:nvPr/>
          </p:nvCxnSpPr>
          <p:spPr>
            <a:xfrm rot="10800000">
              <a:off x="6437720" y="1508179"/>
              <a:ext cx="0" cy="1588"/>
            </a:xfrm>
            <a:prstGeom prst="straightConnector1">
              <a:avLst/>
            </a:prstGeom>
            <a:noFill/>
            <a:ln w="9525" cap="flat" cmpd="sng">
              <a:solidFill>
                <a:srgbClr val="FFFFFF"/>
              </a:solidFill>
              <a:prstDash val="solid"/>
              <a:round/>
              <a:headEnd type="none" w="med" len="med"/>
              <a:tailEnd type="none" w="med" len="med"/>
            </a:ln>
          </p:spPr>
        </p:cxnSp>
        <p:sp>
          <p:nvSpPr>
            <p:cNvPr id="1038" name="Google Shape;1038;p14"/>
            <p:cNvSpPr/>
            <p:nvPr/>
          </p:nvSpPr>
          <p:spPr>
            <a:xfrm>
              <a:off x="5607458" y="1436742"/>
              <a:ext cx="11112" cy="55562"/>
            </a:xfrm>
            <a:custGeom>
              <a:avLst/>
              <a:gdLst/>
              <a:ahLst/>
              <a:cxnLst/>
              <a:rect l="l" t="t" r="r" b="b"/>
              <a:pathLst>
                <a:path w="26" h="25" extrusionOk="0">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9" name="Google Shape;1039;p14"/>
            <p:cNvSpPr/>
            <p:nvPr/>
          </p:nvSpPr>
          <p:spPr>
            <a:xfrm>
              <a:off x="6356758" y="1508179"/>
              <a:ext cx="9525" cy="57150"/>
            </a:xfrm>
            <a:custGeom>
              <a:avLst/>
              <a:gdLst/>
              <a:ahLst/>
              <a:cxnLst/>
              <a:rect l="l" t="t" r="r" b="b"/>
              <a:pathLst>
                <a:path w="33" h="25" extrusionOk="0">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0" name="Google Shape;1040;p14"/>
            <p:cNvSpPr/>
            <p:nvPr/>
          </p:nvSpPr>
          <p:spPr>
            <a:xfrm>
              <a:off x="6310720" y="1471667"/>
              <a:ext cx="9525" cy="57150"/>
            </a:xfrm>
            <a:custGeom>
              <a:avLst/>
              <a:gdLst/>
              <a:ahLst/>
              <a:cxnLst/>
              <a:rect l="l" t="t" r="r" b="b"/>
              <a:pathLst>
                <a:path w="20" h="18" extrusionOk="0">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1" name="Google Shape;1041;p14"/>
            <p:cNvSpPr/>
            <p:nvPr/>
          </p:nvSpPr>
          <p:spPr>
            <a:xfrm>
              <a:off x="6810783" y="2041579"/>
              <a:ext cx="12700" cy="58738"/>
            </a:xfrm>
            <a:custGeom>
              <a:avLst/>
              <a:gdLst/>
              <a:ahLst/>
              <a:cxnLst/>
              <a:rect l="l" t="t" r="r" b="b"/>
              <a:pathLst>
                <a:path w="33" h="31" extrusionOk="0">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2" name="Google Shape;1042;p14"/>
            <p:cNvSpPr/>
            <p:nvPr/>
          </p:nvSpPr>
          <p:spPr>
            <a:xfrm>
              <a:off x="7104470" y="1563742"/>
              <a:ext cx="55563" cy="58737"/>
            </a:xfrm>
            <a:custGeom>
              <a:avLst/>
              <a:gdLst/>
              <a:ahLst/>
              <a:cxnLst/>
              <a:rect l="l" t="t" r="r" b="b"/>
              <a:pathLst>
                <a:path w="129" h="56" extrusionOk="0">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3" name="Google Shape;1043;p14"/>
            <p:cNvSpPr/>
            <p:nvPr/>
          </p:nvSpPr>
          <p:spPr>
            <a:xfrm>
              <a:off x="7240995" y="1916167"/>
              <a:ext cx="14288" cy="57150"/>
            </a:xfrm>
            <a:custGeom>
              <a:avLst/>
              <a:gdLst/>
              <a:ahLst/>
              <a:cxnLst/>
              <a:rect l="l" t="t" r="r" b="b"/>
              <a:pathLst>
                <a:path w="41" h="42" extrusionOk="0">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4" name="Google Shape;1044;p14"/>
            <p:cNvSpPr/>
            <p:nvPr/>
          </p:nvSpPr>
          <p:spPr>
            <a:xfrm>
              <a:off x="7390220" y="2028879"/>
              <a:ext cx="42863" cy="60325"/>
            </a:xfrm>
            <a:custGeom>
              <a:avLst/>
              <a:gdLst/>
              <a:ahLst/>
              <a:cxnLst/>
              <a:rect l="l" t="t" r="r" b="b"/>
              <a:pathLst>
                <a:path w="93" h="39" extrusionOk="0">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5" name="Google Shape;1045;p14"/>
            <p:cNvSpPr/>
            <p:nvPr/>
          </p:nvSpPr>
          <p:spPr>
            <a:xfrm>
              <a:off x="7441020" y="2044754"/>
              <a:ext cx="19050" cy="58738"/>
            </a:xfrm>
            <a:custGeom>
              <a:avLst/>
              <a:gdLst/>
              <a:ahLst/>
              <a:cxnLst/>
              <a:rect l="l" t="t" r="r" b="b"/>
              <a:pathLst>
                <a:path w="39" h="19" extrusionOk="0">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6" name="Google Shape;1046;p14"/>
            <p:cNvSpPr/>
            <p:nvPr/>
          </p:nvSpPr>
          <p:spPr>
            <a:xfrm>
              <a:off x="7306083" y="2171754"/>
              <a:ext cx="14287" cy="57150"/>
            </a:xfrm>
            <a:custGeom>
              <a:avLst/>
              <a:gdLst/>
              <a:ahLst/>
              <a:cxnLst/>
              <a:rect l="l" t="t" r="r" b="b"/>
              <a:pathLst>
                <a:path w="26" h="36" extrusionOk="0">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7" name="Google Shape;1047;p14"/>
            <p:cNvSpPr/>
            <p:nvPr/>
          </p:nvSpPr>
          <p:spPr>
            <a:xfrm>
              <a:off x="7317195" y="2200329"/>
              <a:ext cx="3175" cy="60325"/>
            </a:xfrm>
            <a:custGeom>
              <a:avLst/>
              <a:gdLst/>
              <a:ahLst/>
              <a:cxnLst/>
              <a:rect l="l" t="t" r="r" b="b"/>
              <a:pathLst>
                <a:path w="6" h="37" extrusionOk="0">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8" name="Google Shape;1048;p14"/>
            <p:cNvSpPr/>
            <p:nvPr/>
          </p:nvSpPr>
          <p:spPr>
            <a:xfrm>
              <a:off x="7304495" y="2282879"/>
              <a:ext cx="9525" cy="55563"/>
            </a:xfrm>
            <a:custGeom>
              <a:avLst/>
              <a:gdLst/>
              <a:ahLst/>
              <a:cxnLst/>
              <a:rect l="l" t="t" r="r" b="b"/>
              <a:pathLst>
                <a:path w="20" h="43" extrusionOk="0">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9" name="Google Shape;1049;p14"/>
            <p:cNvSpPr/>
            <p:nvPr/>
          </p:nvSpPr>
          <p:spPr>
            <a:xfrm>
              <a:off x="7282270" y="2317804"/>
              <a:ext cx="0" cy="58738"/>
            </a:xfrm>
            <a:custGeom>
              <a:avLst/>
              <a:gdLst/>
              <a:ahLst/>
              <a:cxnLst/>
              <a:rect l="l" t="t" r="r" b="b"/>
              <a:pathLst>
                <a:path w="120000" h="30" extrusionOk="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0" name="Google Shape;1050;p14"/>
            <p:cNvSpPr/>
            <p:nvPr/>
          </p:nvSpPr>
          <p:spPr>
            <a:xfrm>
              <a:off x="7282270" y="2317804"/>
              <a:ext cx="7938" cy="58738"/>
            </a:xfrm>
            <a:custGeom>
              <a:avLst/>
              <a:gdLst/>
              <a:ahLst/>
              <a:cxnLst/>
              <a:rect l="l" t="t" r="r" b="b"/>
              <a:pathLst>
                <a:path w="20" h="24" extrusionOk="0">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1" name="Google Shape;1051;p14"/>
            <p:cNvSpPr/>
            <p:nvPr/>
          </p:nvSpPr>
          <p:spPr>
            <a:xfrm>
              <a:off x="7036208" y="1905054"/>
              <a:ext cx="17462" cy="60325"/>
            </a:xfrm>
            <a:custGeom>
              <a:avLst/>
              <a:gdLst/>
              <a:ahLst/>
              <a:cxnLst/>
              <a:rect l="l" t="t" r="r" b="b"/>
              <a:pathLst>
                <a:path w="46" h="19" extrusionOk="0">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2" name="Google Shape;1052;p14"/>
            <p:cNvSpPr/>
            <p:nvPr/>
          </p:nvSpPr>
          <p:spPr>
            <a:xfrm>
              <a:off x="4351745" y="2044754"/>
              <a:ext cx="47625" cy="58738"/>
            </a:xfrm>
            <a:custGeom>
              <a:avLst/>
              <a:gdLst/>
              <a:ahLst/>
              <a:cxnLst/>
              <a:rect l="l" t="t" r="r" b="b"/>
              <a:pathLst>
                <a:path w="100" h="55" extrusionOk="0">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3" name="Google Shape;1053;p14"/>
            <p:cNvSpPr/>
            <p:nvPr/>
          </p:nvSpPr>
          <p:spPr>
            <a:xfrm>
              <a:off x="4801008" y="1636767"/>
              <a:ext cx="42862" cy="58737"/>
            </a:xfrm>
            <a:custGeom>
              <a:avLst/>
              <a:gdLst/>
              <a:ahLst/>
              <a:cxnLst/>
              <a:rect l="l" t="t" r="r" b="b"/>
              <a:pathLst>
                <a:path w="99" h="51" extrusionOk="0">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4" name="Google Shape;1054;p14"/>
            <p:cNvSpPr/>
            <p:nvPr/>
          </p:nvSpPr>
          <p:spPr>
            <a:xfrm>
              <a:off x="4835933" y="1449442"/>
              <a:ext cx="228600" cy="163512"/>
            </a:xfrm>
            <a:custGeom>
              <a:avLst/>
              <a:gdLst/>
              <a:ahLst/>
              <a:cxnLst/>
              <a:rect l="l" t="t" r="r" b="b"/>
              <a:pathLst>
                <a:path w="525" h="311" extrusionOk="0">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5" name="Google Shape;1055;p14"/>
            <p:cNvSpPr/>
            <p:nvPr/>
          </p:nvSpPr>
          <p:spPr>
            <a:xfrm>
              <a:off x="4627970" y="1760592"/>
              <a:ext cx="31750" cy="55562"/>
            </a:xfrm>
            <a:custGeom>
              <a:avLst/>
              <a:gdLst/>
              <a:ahLst/>
              <a:cxnLst/>
              <a:rect l="l" t="t" r="r" b="b"/>
              <a:pathLst>
                <a:path w="79" h="38" extrusionOk="0">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6" name="Google Shape;1056;p14"/>
            <p:cNvSpPr/>
            <p:nvPr/>
          </p:nvSpPr>
          <p:spPr>
            <a:xfrm>
              <a:off x="6933020" y="2057454"/>
              <a:ext cx="196850" cy="268288"/>
            </a:xfrm>
            <a:custGeom>
              <a:avLst/>
              <a:gdLst/>
              <a:ahLst/>
              <a:cxnLst/>
              <a:rect l="l" t="t" r="r" b="b"/>
              <a:pathLst>
                <a:path w="459" h="511" extrusionOk="0">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1057" name="Google Shape;1057;p14"/>
            <p:cNvGrpSpPr/>
            <p:nvPr/>
          </p:nvGrpSpPr>
          <p:grpSpPr>
            <a:xfrm>
              <a:off x="5723345" y="2013004"/>
              <a:ext cx="671513" cy="384175"/>
              <a:chOff x="4115" y="1551"/>
              <a:chExt cx="504" cy="244"/>
            </a:xfrm>
          </p:grpSpPr>
          <p:sp>
            <p:nvSpPr>
              <p:cNvPr id="1058" name="Google Shape;1058;p14"/>
              <p:cNvSpPr/>
              <p:nvPr/>
            </p:nvSpPr>
            <p:spPr>
              <a:xfrm>
                <a:off x="4540" y="1551"/>
                <a:ext cx="79" cy="86"/>
              </a:xfrm>
              <a:custGeom>
                <a:avLst/>
                <a:gdLst/>
                <a:ahLst/>
                <a:cxnLst/>
                <a:rect l="l" t="t" r="r" b="b"/>
                <a:pathLst>
                  <a:path w="240" h="259" extrusionOk="0">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9" name="Google Shape;1059;p14"/>
              <p:cNvSpPr/>
              <p:nvPr/>
            </p:nvSpPr>
            <p:spPr>
              <a:xfrm>
                <a:off x="4115" y="1761"/>
                <a:ext cx="84" cy="34"/>
              </a:xfrm>
              <a:custGeom>
                <a:avLst/>
                <a:gdLst/>
                <a:ahLst/>
                <a:cxnLst/>
                <a:rect l="l" t="t" r="r" b="b"/>
                <a:pathLst>
                  <a:path w="259" h="104" extrusionOk="0">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1060" name="Google Shape;1060;p14"/>
            <p:cNvSpPr/>
            <p:nvPr/>
          </p:nvSpPr>
          <p:spPr>
            <a:xfrm>
              <a:off x="4780370" y="2762304"/>
              <a:ext cx="530225" cy="511175"/>
            </a:xfrm>
            <a:custGeom>
              <a:avLst/>
              <a:gdLst/>
              <a:ahLst/>
              <a:cxnLst/>
              <a:rect l="l" t="t" r="r" b="b"/>
              <a:pathLst>
                <a:path w="1227" h="979" extrusionOk="0">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1" name="Google Shape;1061;p14"/>
            <p:cNvSpPr/>
            <p:nvPr/>
          </p:nvSpPr>
          <p:spPr>
            <a:xfrm>
              <a:off x="4254908" y="2306692"/>
              <a:ext cx="57150" cy="57150"/>
            </a:xfrm>
            <a:custGeom>
              <a:avLst/>
              <a:gdLst/>
              <a:ahLst/>
              <a:cxnLst/>
              <a:rect l="l" t="t" r="r" b="b"/>
              <a:pathLst>
                <a:path w="146" h="81" extrusionOk="0">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2" name="Google Shape;1062;p14"/>
            <p:cNvSpPr/>
            <p:nvPr/>
          </p:nvSpPr>
          <p:spPr>
            <a:xfrm>
              <a:off x="3994558" y="2519417"/>
              <a:ext cx="15875" cy="57150"/>
            </a:xfrm>
            <a:custGeom>
              <a:avLst/>
              <a:gdLst/>
              <a:ahLst/>
              <a:cxnLst/>
              <a:rect l="l" t="t" r="r" b="b"/>
              <a:pathLst>
                <a:path w="34" h="49" extrusionOk="0">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3" name="Google Shape;1063;p14"/>
            <p:cNvSpPr/>
            <p:nvPr/>
          </p:nvSpPr>
          <p:spPr>
            <a:xfrm>
              <a:off x="3586570" y="2865492"/>
              <a:ext cx="28575" cy="57150"/>
            </a:xfrm>
            <a:custGeom>
              <a:avLst/>
              <a:gdLst/>
              <a:ahLst/>
              <a:cxnLst/>
              <a:rect l="l" t="t" r="r" b="b"/>
              <a:pathLst>
                <a:path w="60" h="74" extrusionOk="0">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4" name="Google Shape;1064;p14"/>
            <p:cNvSpPr/>
            <p:nvPr/>
          </p:nvSpPr>
          <p:spPr>
            <a:xfrm>
              <a:off x="3527833" y="2881367"/>
              <a:ext cx="23812" cy="60325"/>
            </a:xfrm>
            <a:custGeom>
              <a:avLst/>
              <a:gdLst/>
              <a:ahLst/>
              <a:cxnLst/>
              <a:rect l="l" t="t" r="r" b="b"/>
              <a:pathLst>
                <a:path w="47" h="45" extrusionOk="0">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5" name="Google Shape;1065;p14"/>
            <p:cNvSpPr/>
            <p:nvPr/>
          </p:nvSpPr>
          <p:spPr>
            <a:xfrm>
              <a:off x="3502433" y="2875017"/>
              <a:ext cx="6350" cy="57150"/>
            </a:xfrm>
            <a:custGeom>
              <a:avLst/>
              <a:gdLst/>
              <a:ahLst/>
              <a:cxnLst/>
              <a:rect l="l" t="t" r="r" b="b"/>
              <a:pathLst>
                <a:path w="26" h="36" extrusionOk="0">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6" name="Google Shape;1066;p14"/>
            <p:cNvSpPr/>
            <p:nvPr/>
          </p:nvSpPr>
          <p:spPr>
            <a:xfrm>
              <a:off x="4774020" y="2603554"/>
              <a:ext cx="174625" cy="158750"/>
            </a:xfrm>
            <a:custGeom>
              <a:avLst/>
              <a:gdLst/>
              <a:ahLst/>
              <a:cxnLst/>
              <a:rect l="l" t="t" r="r" b="b"/>
              <a:pathLst>
                <a:path w="405" h="302" extrusionOk="0">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7" name="Google Shape;1067;p14"/>
            <p:cNvSpPr/>
            <p:nvPr/>
          </p:nvSpPr>
          <p:spPr>
            <a:xfrm>
              <a:off x="6867933" y="2984554"/>
              <a:ext cx="42862" cy="79375"/>
            </a:xfrm>
            <a:custGeom>
              <a:avLst/>
              <a:gdLst/>
              <a:ahLst/>
              <a:cxnLst/>
              <a:rect l="l" t="t" r="r" b="b"/>
              <a:pathLst>
                <a:path w="100" h="155" extrusionOk="0">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1068" name="Google Shape;1068;p14"/>
            <p:cNvGrpSpPr/>
            <p:nvPr/>
          </p:nvGrpSpPr>
          <p:grpSpPr>
            <a:xfrm>
              <a:off x="4515258" y="2452742"/>
              <a:ext cx="482600" cy="201612"/>
              <a:chOff x="3289" y="1830"/>
              <a:chExt cx="363" cy="128"/>
            </a:xfrm>
          </p:grpSpPr>
          <p:sp>
            <p:nvSpPr>
              <p:cNvPr id="1069" name="Google Shape;1069;p14"/>
              <p:cNvSpPr/>
              <p:nvPr/>
            </p:nvSpPr>
            <p:spPr>
              <a:xfrm>
                <a:off x="3289" y="1871"/>
                <a:ext cx="4" cy="3"/>
              </a:xfrm>
              <a:custGeom>
                <a:avLst/>
                <a:gdLst/>
                <a:ahLst/>
                <a:cxnLst/>
                <a:rect l="l" t="t" r="r" b="b"/>
                <a:pathLst>
                  <a:path w="13" h="7" extrusionOk="0">
                    <a:moveTo>
                      <a:pt x="13" y="0"/>
                    </a:moveTo>
                    <a:lnTo>
                      <a:pt x="12" y="1"/>
                    </a:lnTo>
                    <a:lnTo>
                      <a:pt x="9" y="3"/>
                    </a:lnTo>
                    <a:lnTo>
                      <a:pt x="4" y="5"/>
                    </a:lnTo>
                    <a:lnTo>
                      <a:pt x="0" y="7"/>
                    </a:lnTo>
                    <a:lnTo>
                      <a:pt x="7" y="3"/>
                    </a:lnTo>
                    <a:lnTo>
                      <a:pt x="1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0" name="Google Shape;1070;p14"/>
              <p:cNvSpPr/>
              <p:nvPr/>
            </p:nvSpPr>
            <p:spPr>
              <a:xfrm>
                <a:off x="3324" y="1937"/>
                <a:ext cx="10" cy="3"/>
              </a:xfrm>
              <a:custGeom>
                <a:avLst/>
                <a:gdLst/>
                <a:ahLst/>
                <a:cxnLst/>
                <a:rect l="l" t="t" r="r" b="b"/>
                <a:pathLst>
                  <a:path w="34" h="8" extrusionOk="0">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1" name="Google Shape;1071;p14"/>
              <p:cNvSpPr/>
              <p:nvPr/>
            </p:nvSpPr>
            <p:spPr>
              <a:xfrm>
                <a:off x="3343" y="1948"/>
                <a:ext cx="4" cy="8"/>
              </a:xfrm>
              <a:custGeom>
                <a:avLst/>
                <a:gdLst/>
                <a:ahLst/>
                <a:cxnLst/>
                <a:rect l="l" t="t" r="r" b="b"/>
                <a:pathLst>
                  <a:path w="13" h="24" extrusionOk="0">
                    <a:moveTo>
                      <a:pt x="0" y="24"/>
                    </a:moveTo>
                    <a:lnTo>
                      <a:pt x="0" y="0"/>
                    </a:lnTo>
                    <a:lnTo>
                      <a:pt x="13" y="12"/>
                    </a:lnTo>
                    <a:lnTo>
                      <a:pt x="0" y="24"/>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2" name="Google Shape;1072;p14"/>
              <p:cNvSpPr/>
              <p:nvPr/>
            </p:nvSpPr>
            <p:spPr>
              <a:xfrm>
                <a:off x="3313" y="1834"/>
                <a:ext cx="34" cy="23"/>
              </a:xfrm>
              <a:custGeom>
                <a:avLst/>
                <a:gdLst/>
                <a:ahLst/>
                <a:cxnLst/>
                <a:rect l="l" t="t" r="r" b="b"/>
                <a:pathLst>
                  <a:path w="107" h="69" extrusionOk="0">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3" name="Google Shape;1073;p14"/>
              <p:cNvSpPr/>
              <p:nvPr/>
            </p:nvSpPr>
            <p:spPr>
              <a:xfrm>
                <a:off x="3302" y="1830"/>
                <a:ext cx="350" cy="128"/>
              </a:xfrm>
              <a:custGeom>
                <a:avLst/>
                <a:gdLst/>
                <a:ahLst/>
                <a:cxnLst/>
                <a:rect l="l" t="t" r="r" b="b"/>
                <a:pathLst>
                  <a:path w="1070" h="382" extrusionOk="0">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1074" name="Google Shape;1074;p14"/>
            <p:cNvSpPr/>
            <p:nvPr/>
          </p:nvSpPr>
          <p:spPr>
            <a:xfrm>
              <a:off x="2503895" y="3605267"/>
              <a:ext cx="100013" cy="122237"/>
            </a:xfrm>
            <a:custGeom>
              <a:avLst/>
              <a:gdLst/>
              <a:ahLst/>
              <a:cxnLst/>
              <a:rect l="l" t="t" r="r" b="b"/>
              <a:pathLst>
                <a:path w="226" h="237" extrusionOk="0">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5" name="Google Shape;1075;p14"/>
            <p:cNvSpPr/>
            <p:nvPr/>
          </p:nvSpPr>
          <p:spPr>
            <a:xfrm>
              <a:off x="6448833" y="3041704"/>
              <a:ext cx="207962" cy="458788"/>
            </a:xfrm>
            <a:custGeom>
              <a:avLst/>
              <a:gdLst/>
              <a:ahLst/>
              <a:cxnLst/>
              <a:rect l="l" t="t" r="r" b="b"/>
              <a:pathLst>
                <a:path w="478" h="875" extrusionOk="0">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6" name="Google Shape;1076;p14"/>
            <p:cNvSpPr/>
            <p:nvPr/>
          </p:nvSpPr>
          <p:spPr>
            <a:xfrm>
              <a:off x="6536145" y="3727504"/>
              <a:ext cx="25400" cy="57150"/>
            </a:xfrm>
            <a:custGeom>
              <a:avLst/>
              <a:gdLst/>
              <a:ahLst/>
              <a:cxnLst/>
              <a:rect l="l" t="t" r="r" b="b"/>
              <a:pathLst>
                <a:path w="59" h="31" extrusionOk="0">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7" name="Google Shape;1077;p14"/>
            <p:cNvSpPr/>
            <p:nvPr/>
          </p:nvSpPr>
          <p:spPr>
            <a:xfrm>
              <a:off x="5228045" y="2986142"/>
              <a:ext cx="174625" cy="271462"/>
            </a:xfrm>
            <a:custGeom>
              <a:avLst/>
              <a:gdLst/>
              <a:ahLst/>
              <a:cxnLst/>
              <a:rect l="l" t="t" r="r" b="b"/>
              <a:pathLst>
                <a:path w="399" h="518" extrusionOk="0">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8" name="Google Shape;1078;p14"/>
            <p:cNvSpPr/>
            <p:nvPr/>
          </p:nvSpPr>
          <p:spPr>
            <a:xfrm>
              <a:off x="3954870" y="3040117"/>
              <a:ext cx="376238" cy="385762"/>
            </a:xfrm>
            <a:custGeom>
              <a:avLst/>
              <a:gdLst/>
              <a:ahLst/>
              <a:cxnLst/>
              <a:rect l="l" t="t" r="r" b="b"/>
              <a:pathLst>
                <a:path w="866" h="740" extrusionOk="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9" name="Google Shape;1079;p14"/>
            <p:cNvSpPr/>
            <p:nvPr/>
          </p:nvSpPr>
          <p:spPr>
            <a:xfrm>
              <a:off x="3624670" y="2657529"/>
              <a:ext cx="300038" cy="260350"/>
            </a:xfrm>
            <a:custGeom>
              <a:avLst/>
              <a:gdLst/>
              <a:ahLst/>
              <a:cxnLst/>
              <a:rect l="l" t="t" r="r" b="b"/>
              <a:pathLst>
                <a:path w="697" h="500" extrusionOk="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0" name="Google Shape;1080;p14"/>
            <p:cNvSpPr/>
            <p:nvPr/>
          </p:nvSpPr>
          <p:spPr>
            <a:xfrm>
              <a:off x="4324758" y="1587554"/>
              <a:ext cx="236537" cy="92075"/>
            </a:xfrm>
            <a:custGeom>
              <a:avLst/>
              <a:gdLst/>
              <a:ahLst/>
              <a:cxnLst/>
              <a:rect l="l" t="t" r="r" b="b"/>
              <a:pathLst>
                <a:path w="546" h="173" extrusionOk="0">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1" name="Google Shape;1081;p14"/>
            <p:cNvSpPr/>
            <p:nvPr/>
          </p:nvSpPr>
          <p:spPr>
            <a:xfrm>
              <a:off x="4835933" y="1571679"/>
              <a:ext cx="107950" cy="60325"/>
            </a:xfrm>
            <a:custGeom>
              <a:avLst/>
              <a:gdLst/>
              <a:ahLst/>
              <a:cxnLst/>
              <a:rect l="l" t="t" r="r" b="b"/>
              <a:pathLst>
                <a:path w="246" h="42" extrusionOk="0">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2" name="Google Shape;1082;p14"/>
            <p:cNvSpPr/>
            <p:nvPr/>
          </p:nvSpPr>
          <p:spPr>
            <a:xfrm>
              <a:off x="4978808" y="1554217"/>
              <a:ext cx="63500" cy="57150"/>
            </a:xfrm>
            <a:custGeom>
              <a:avLst/>
              <a:gdLst/>
              <a:ahLst/>
              <a:cxnLst/>
              <a:rect l="l" t="t" r="r" b="b"/>
              <a:pathLst>
                <a:path w="149" h="61" extrusionOk="0">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3" name="Google Shape;1083;p14"/>
            <p:cNvSpPr/>
            <p:nvPr/>
          </p:nvSpPr>
          <p:spPr>
            <a:xfrm>
              <a:off x="5015320" y="1562154"/>
              <a:ext cx="130175" cy="57150"/>
            </a:xfrm>
            <a:custGeom>
              <a:avLst/>
              <a:gdLst/>
              <a:ahLst/>
              <a:cxnLst/>
              <a:rect l="l" t="t" r="r" b="b"/>
              <a:pathLst>
                <a:path w="299" h="74" extrusionOk="0">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4" name="Google Shape;1084;p14"/>
            <p:cNvSpPr/>
            <p:nvPr/>
          </p:nvSpPr>
          <p:spPr>
            <a:xfrm rot="-1153185">
              <a:off x="4993901" y="4134644"/>
              <a:ext cx="23813" cy="5715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5" name="Google Shape;1085;p14"/>
            <p:cNvSpPr/>
            <p:nvPr/>
          </p:nvSpPr>
          <p:spPr>
            <a:xfrm rot="-4172302">
              <a:off x="5016933" y="4171976"/>
              <a:ext cx="19050" cy="58738"/>
            </a:xfrm>
            <a:custGeom>
              <a:avLst/>
              <a:gdLst/>
              <a:ahLst/>
              <a:cxnLst/>
              <a:rect l="l" t="t" r="r" b="b"/>
              <a:pathLst>
                <a:path w="47" h="28" extrusionOk="0">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6" name="Google Shape;1086;p14"/>
            <p:cNvSpPr/>
            <p:nvPr/>
          </p:nvSpPr>
          <p:spPr>
            <a:xfrm rot="-2445481" flipH="1">
              <a:off x="5284978" y="3815592"/>
              <a:ext cx="25200" cy="8432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7" name="Google Shape;1087;p14"/>
            <p:cNvSpPr/>
            <p:nvPr/>
          </p:nvSpPr>
          <p:spPr>
            <a:xfrm rot="8354519">
              <a:off x="5244736" y="3799042"/>
              <a:ext cx="252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8" name="Google Shape;1088;p14"/>
            <p:cNvSpPr/>
            <p:nvPr/>
          </p:nvSpPr>
          <p:spPr>
            <a:xfrm rot="8354519">
              <a:off x="5066057" y="4209894"/>
              <a:ext cx="252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9" name="Google Shape;1089;p14"/>
            <p:cNvSpPr/>
            <p:nvPr/>
          </p:nvSpPr>
          <p:spPr>
            <a:xfrm rot="8354519">
              <a:off x="5314245" y="3771828"/>
              <a:ext cx="252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90" name="Google Shape;1090;p14"/>
            <p:cNvSpPr/>
            <p:nvPr/>
          </p:nvSpPr>
          <p:spPr>
            <a:xfrm rot="8354519">
              <a:off x="5335946" y="3795813"/>
              <a:ext cx="180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grpSp>
        <p:nvGrpSpPr>
          <p:cNvPr id="1091" name="Google Shape;1091;p14"/>
          <p:cNvGrpSpPr/>
          <p:nvPr/>
        </p:nvGrpSpPr>
        <p:grpSpPr>
          <a:xfrm>
            <a:off x="801687" y="5520896"/>
            <a:ext cx="2232025" cy="525223"/>
            <a:chOff x="323850" y="5732463"/>
            <a:chExt cx="2232025" cy="525223"/>
          </a:xfrm>
        </p:grpSpPr>
        <p:sp>
          <p:nvSpPr>
            <p:cNvPr id="1092" name="Google Shape;1092;p14"/>
            <p:cNvSpPr/>
            <p:nvPr/>
          </p:nvSpPr>
          <p:spPr>
            <a:xfrm>
              <a:off x="323850" y="5824538"/>
              <a:ext cx="84138" cy="71437"/>
            </a:xfrm>
            <a:prstGeom prst="rect">
              <a:avLst/>
            </a:prstGeom>
            <a:solidFill>
              <a:srgbClr val="336699"/>
            </a:solidFill>
            <a:ln w="9525" cap="flat" cmpd="sng">
              <a:solidFill>
                <a:srgbClr val="06346E"/>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Roboto"/>
                <a:ea typeface="Roboto"/>
                <a:cs typeface="Roboto"/>
                <a:sym typeface="Roboto"/>
              </a:endParaRPr>
            </a:p>
          </p:txBody>
        </p:sp>
        <p:sp>
          <p:nvSpPr>
            <p:cNvPr id="1093" name="Google Shape;1093;p14"/>
            <p:cNvSpPr txBox="1"/>
            <p:nvPr/>
          </p:nvSpPr>
          <p:spPr>
            <a:xfrm>
              <a:off x="409575" y="5732463"/>
              <a:ext cx="1420813" cy="2540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a:ln>
                    <a:noFill/>
                  </a:ln>
                  <a:solidFill>
                    <a:srgbClr val="000000"/>
                  </a:solidFill>
                  <a:effectLst/>
                  <a:uLnTx/>
                  <a:uFillTx/>
                  <a:latin typeface="Arial"/>
                  <a:ea typeface="Arial"/>
                  <a:cs typeface="Arial"/>
                  <a:sym typeface="Arial"/>
                </a:rPr>
                <a:t>IAF MLA Signatori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095" name="Google Shape;1095;p14"/>
            <p:cNvSpPr txBox="1"/>
            <p:nvPr/>
          </p:nvSpPr>
          <p:spPr>
            <a:xfrm>
              <a:off x="409575" y="5949950"/>
              <a:ext cx="2146300"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0"/>
        <p:cNvGrpSpPr/>
        <p:nvPr/>
      </p:nvGrpSpPr>
      <p:grpSpPr>
        <a:xfrm>
          <a:off x="0" y="0"/>
          <a:ext cx="0" cy="0"/>
          <a:chOff x="0" y="0"/>
          <a:chExt cx="0" cy="0"/>
        </a:xfrm>
      </p:grpSpPr>
      <p:sp>
        <p:nvSpPr>
          <p:cNvPr id="8" name="Google Shape;405;p10">
            <a:extLst>
              <a:ext uri="{FF2B5EF4-FFF2-40B4-BE49-F238E27FC236}">
                <a16:creationId xmlns:a16="http://schemas.microsoft.com/office/drawing/2014/main" id="{8CABF675-4C04-C10E-2B3C-F69024D3D227}"/>
              </a:ext>
            </a:extLst>
          </p:cNvPr>
          <p:cNvSpPr/>
          <p:nvPr/>
        </p:nvSpPr>
        <p:spPr>
          <a:xfrm>
            <a:off x="615376" y="3211211"/>
            <a:ext cx="2241217" cy="242156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sp>
        <p:nvSpPr>
          <p:cNvPr id="7" name="Google Shape;405;p10">
            <a:extLst>
              <a:ext uri="{FF2B5EF4-FFF2-40B4-BE49-F238E27FC236}">
                <a16:creationId xmlns:a16="http://schemas.microsoft.com/office/drawing/2014/main" id="{5DB19C23-9C44-EAE1-6353-BFEB00F30459}"/>
              </a:ext>
            </a:extLst>
          </p:cNvPr>
          <p:cNvSpPr/>
          <p:nvPr/>
        </p:nvSpPr>
        <p:spPr>
          <a:xfrm>
            <a:off x="3472964" y="3206081"/>
            <a:ext cx="2241217" cy="242156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sp>
        <p:nvSpPr>
          <p:cNvPr id="1101" name="Google Shape;1101;p15"/>
          <p:cNvSpPr/>
          <p:nvPr/>
        </p:nvSpPr>
        <p:spPr>
          <a:xfrm flipH="1">
            <a:off x="7652628" y="0"/>
            <a:ext cx="4331643" cy="6858000"/>
          </a:xfrm>
          <a:custGeom>
            <a:avLst/>
            <a:gdLst/>
            <a:ahLst/>
            <a:cxnLst/>
            <a:rect l="l" t="t" r="r" b="b"/>
            <a:pathLst>
              <a:path w="4331643" h="6858000" extrusionOk="0">
                <a:moveTo>
                  <a:pt x="0" y="0"/>
                </a:moveTo>
                <a:lnTo>
                  <a:pt x="2428321" y="0"/>
                </a:lnTo>
                <a:lnTo>
                  <a:pt x="3247741" y="0"/>
                </a:lnTo>
                <a:lnTo>
                  <a:pt x="3228921" y="39112"/>
                </a:lnTo>
                <a:cubicBezTo>
                  <a:pt x="3190742" y="132571"/>
                  <a:pt x="3168404" y="234396"/>
                  <a:pt x="3161905" y="335005"/>
                </a:cubicBezTo>
                <a:cubicBezTo>
                  <a:pt x="3144575" y="594641"/>
                  <a:pt x="3231223" y="854277"/>
                  <a:pt x="3326535" y="1105258"/>
                </a:cubicBezTo>
                <a:cubicBezTo>
                  <a:pt x="3413182" y="1356240"/>
                  <a:pt x="3508494" y="1607221"/>
                  <a:pt x="3508494" y="1875512"/>
                </a:cubicBezTo>
                <a:cubicBezTo>
                  <a:pt x="3508494" y="2299584"/>
                  <a:pt x="3283211" y="2689038"/>
                  <a:pt x="3153240" y="3095801"/>
                </a:cubicBezTo>
                <a:cubicBezTo>
                  <a:pt x="2936622" y="3805472"/>
                  <a:pt x="3066593" y="4618998"/>
                  <a:pt x="3499829" y="5233470"/>
                </a:cubicBezTo>
                <a:cubicBezTo>
                  <a:pt x="3716447" y="5545033"/>
                  <a:pt x="4011048" y="5804669"/>
                  <a:pt x="4184342" y="6133541"/>
                </a:cubicBezTo>
                <a:cubicBezTo>
                  <a:pt x="4298067" y="6344496"/>
                  <a:pt x="4357637" y="6602779"/>
                  <a:pt x="4320745" y="6830214"/>
                </a:cubicBezTo>
                <a:lnTo>
                  <a:pt x="4313584" y="6858000"/>
                </a:lnTo>
                <a:lnTo>
                  <a:pt x="2309394" y="6858000"/>
                </a:lnTo>
                <a:lnTo>
                  <a:pt x="0" y="68580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a:ln>
                  <a:noFill/>
                </a:ln>
                <a:solidFill>
                  <a:srgbClr val="FFFFFF"/>
                </a:solidFill>
                <a:effectLst/>
                <a:uLnTx/>
                <a:uFillTx/>
                <a:latin typeface="Roboto"/>
                <a:ea typeface="Roboto"/>
                <a:cs typeface="Roboto"/>
                <a:sym typeface="Roboto"/>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12" name="Picture Placeholder 11" descr="A blue background with a map of the world&#10;&#10;Description automatically generated">
            <a:extLst>
              <a:ext uri="{FF2B5EF4-FFF2-40B4-BE49-F238E27FC236}">
                <a16:creationId xmlns:a16="http://schemas.microsoft.com/office/drawing/2014/main" id="{F410AB2A-8347-8FED-1762-58AD2681AE89}"/>
              </a:ext>
            </a:extLst>
          </p:cNvPr>
          <p:cNvPicPr>
            <a:picLocks noGrp="1" noChangeAspect="1"/>
          </p:cNvPicPr>
          <p:nvPr>
            <p:ph type="pic" idx="2"/>
          </p:nvPr>
        </p:nvPicPr>
        <p:blipFill rotWithShape="1">
          <a:blip r:embed="rId3"/>
          <a:srcRect l="48889" t="1000" r="16049" b="98"/>
          <a:stretch/>
        </p:blipFill>
        <p:spPr>
          <a:xfrm flipH="1">
            <a:off x="7900453" y="0"/>
            <a:ext cx="4327435" cy="6858000"/>
          </a:xfrm>
        </p:spPr>
      </p:pic>
      <p:sp>
        <p:nvSpPr>
          <p:cNvPr id="1103" name="Google Shape;1103;p15"/>
          <p:cNvSpPr txBox="1"/>
          <p:nvPr/>
        </p:nvSpPr>
        <p:spPr>
          <a:xfrm>
            <a:off x="493325" y="357756"/>
            <a:ext cx="7897996" cy="52322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1" i="0" u="none" strike="noStrike" kern="0" cap="none" spc="0" normalizeH="0" baseline="0" noProof="0" dirty="0">
                <a:ln>
                  <a:noFill/>
                </a:ln>
                <a:solidFill>
                  <a:srgbClr val="000000"/>
                </a:solidFill>
                <a:effectLst/>
                <a:uLnTx/>
                <a:uFillTx/>
                <a:latin typeface="Montserrat"/>
                <a:ea typeface="Montserrat"/>
                <a:cs typeface="Montserrat"/>
                <a:sym typeface="Montserrat"/>
              </a:rPr>
              <a:t>STATUS OF THE IAF MLA </a:t>
            </a:r>
            <a:r>
              <a:rPr kumimoji="0" lang="en-US" sz="1400" b="1" i="0" u="none" strike="noStrike" kern="0" cap="none" spc="0" normalizeH="0" baseline="0" noProof="0" dirty="0">
                <a:ln>
                  <a:noFill/>
                </a:ln>
                <a:solidFill>
                  <a:srgbClr val="000000"/>
                </a:solidFill>
                <a:effectLst/>
                <a:uLnTx/>
                <a:uFillTx/>
                <a:latin typeface="Montserrat"/>
                <a:ea typeface="Montserrat"/>
                <a:cs typeface="Montserrat"/>
                <a:sym typeface="Montserrat"/>
              </a:rPr>
              <a:t>(June</a:t>
            </a:r>
            <a:r>
              <a:rPr lang="en-US" b="1" dirty="0">
                <a:latin typeface="Montserrat"/>
                <a:ea typeface="Montserrat"/>
                <a:cs typeface="Montserrat"/>
                <a:sym typeface="Montserrat"/>
              </a:rPr>
              <a:t> 2025</a:t>
            </a:r>
            <a:r>
              <a:rPr kumimoji="0" lang="en-US" sz="1400" b="1" i="0" u="none" strike="noStrike" kern="0" cap="none" spc="0" normalizeH="0" baseline="0" noProof="0" dirty="0">
                <a:ln>
                  <a:noFill/>
                </a:ln>
                <a:solidFill>
                  <a:srgbClr val="000000"/>
                </a:solidFill>
                <a:effectLst/>
                <a:uLnTx/>
                <a:uFillTx/>
                <a:latin typeface="Montserrat"/>
                <a:ea typeface="Montserrat"/>
                <a:cs typeface="Montserrat"/>
                <a:sym typeface="Montserrat"/>
              </a:rPr>
              <a:t>)</a:t>
            </a:r>
            <a:endParaRPr kumimoji="0" sz="2800" b="1" i="0" u="none" strike="noStrike" kern="0" cap="none" spc="0" normalizeH="0" baseline="0" noProof="0" dirty="0">
              <a:ln>
                <a:noFill/>
              </a:ln>
              <a:solidFill>
                <a:srgbClr val="000000"/>
              </a:solidFill>
              <a:effectLst/>
              <a:uLnTx/>
              <a:uFillTx/>
              <a:latin typeface="Montserrat"/>
              <a:ea typeface="Montserrat"/>
              <a:cs typeface="Montserrat"/>
              <a:sym typeface="Montserrat"/>
            </a:endParaRPr>
          </a:p>
        </p:txBody>
      </p:sp>
      <p:cxnSp>
        <p:nvCxnSpPr>
          <p:cNvPr id="1104" name="Google Shape;1104;p15"/>
          <p:cNvCxnSpPr/>
          <p:nvPr/>
        </p:nvCxnSpPr>
        <p:spPr>
          <a:xfrm>
            <a:off x="595530" y="940966"/>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105" name="Google Shape;1105;p15"/>
          <p:cNvSpPr txBox="1"/>
          <p:nvPr/>
        </p:nvSpPr>
        <p:spPr>
          <a:xfrm>
            <a:off x="487293" y="1344074"/>
            <a:ext cx="6920798" cy="1867137"/>
          </a:xfrm>
          <a:prstGeom prst="rect">
            <a:avLst/>
          </a:prstGeom>
          <a:noFill/>
          <a:ln>
            <a:noFill/>
          </a:ln>
        </p:spPr>
        <p:txBody>
          <a:bodyPr spcFirstLastPara="1" wrap="square" lIns="91425" tIns="45700" rIns="91425" bIns="45700" anchor="t" anchorCtr="0">
            <a:spAutoFit/>
          </a:bodyPr>
          <a:lstStyle/>
          <a:p>
            <a:pPr>
              <a:defRPr/>
            </a:pPr>
            <a:r>
              <a:rPr kumimoji="0" lang="en-US" sz="1400" b="0" i="0" u="none" strike="noStrike" kern="0" cap="none" spc="0" normalizeH="0" baseline="0" noProof="0" dirty="0">
                <a:ln>
                  <a:noFill/>
                </a:ln>
                <a:solidFill>
                  <a:srgbClr val="000000"/>
                </a:solidFill>
                <a:effectLst/>
                <a:uLnTx/>
                <a:uFillTx/>
                <a:latin typeface="Poppins"/>
                <a:ea typeface="Poppins"/>
                <a:cs typeface="Poppins"/>
                <a:sym typeface="Poppins"/>
              </a:rPr>
              <a:t>There are 87 IAF MLA AB Signatories </a:t>
            </a:r>
            <a:r>
              <a:rPr lang="en-US" dirty="0">
                <a:latin typeface="Poppins"/>
                <a:ea typeface="Poppins"/>
                <a:cs typeface="Poppins"/>
                <a:sym typeface="Poppins"/>
              </a:rPr>
              <a:t>representing a total of 100 economies </a:t>
            </a:r>
            <a:r>
              <a:rPr kumimoji="0" lang="en-US" sz="1400" b="0" i="0" u="none" strike="noStrike" kern="0" cap="none" spc="0" normalizeH="0" baseline="0" noProof="0" dirty="0">
                <a:ln>
                  <a:noFill/>
                </a:ln>
                <a:solidFill>
                  <a:srgbClr val="000000"/>
                </a:solidFill>
                <a:effectLst/>
                <a:uLnTx/>
                <a:uFillTx/>
                <a:latin typeface="Poppins"/>
                <a:ea typeface="Poppins"/>
                <a:cs typeface="Poppins"/>
                <a:sym typeface="Poppins"/>
              </a:rPr>
              <a:t>in the following main scope areas</a:t>
            </a:r>
            <a:r>
              <a:rPr lang="en-US" dirty="0">
                <a:latin typeface="Poppins"/>
                <a:ea typeface="Poppins"/>
                <a:cs typeface="Poppins"/>
                <a:sym typeface="Poppins"/>
              </a:rPr>
              <a:t>.</a:t>
            </a:r>
          </a:p>
          <a:p>
            <a:pPr>
              <a:defRPr/>
            </a:pPr>
            <a:endParaRPr lang="en-US" dirty="0">
              <a:latin typeface="Poppins"/>
              <a:ea typeface="Poppins"/>
              <a:cs typeface="Poppins"/>
              <a:sym typeface="Poppins"/>
            </a:endParaRPr>
          </a:p>
          <a:p>
            <a:pPr>
              <a:defRPr/>
            </a:pPr>
            <a:r>
              <a:rPr lang="en-US" dirty="0">
                <a:latin typeface="Poppins"/>
                <a:ea typeface="Poppins"/>
                <a:cs typeface="Poppins"/>
                <a:sym typeface="Poppins"/>
              </a:rPr>
              <a:t>The IAF MLA has 32 sub-scopes, which can be viewed in the </a:t>
            </a:r>
            <a:r>
              <a:rPr lang="en-US" dirty="0">
                <a:solidFill>
                  <a:schemeClr val="accent2"/>
                </a:solidFill>
                <a:latin typeface="Poppins"/>
                <a:ea typeface="Poppins"/>
                <a:cs typeface="Poppins"/>
                <a:sym typeface="Poppins"/>
                <a:hlinkClick r:id="rId4">
                  <a:extLst>
                    <a:ext uri="{A12FA001-AC4F-418D-AE19-62706E023703}">
                      <ahyp:hlinkClr xmlns:ahyp="http://schemas.microsoft.com/office/drawing/2018/hyperlinkcolor" val="tx"/>
                    </a:ext>
                  </a:extLst>
                </a:hlinkClick>
              </a:rPr>
              <a:t>IAF MLA Status</a:t>
            </a:r>
            <a:r>
              <a:rPr lang="en-US" dirty="0">
                <a:solidFill>
                  <a:schemeClr val="accent2"/>
                </a:solidFill>
                <a:latin typeface="Poppins"/>
                <a:ea typeface="Poppins"/>
                <a:cs typeface="Poppins"/>
                <a:sym typeface="Poppins"/>
              </a:rPr>
              <a:t> </a:t>
            </a:r>
            <a:r>
              <a:rPr lang="en-US" dirty="0">
                <a:latin typeface="Poppins"/>
                <a:ea typeface="Poppins"/>
                <a:cs typeface="Poppins"/>
                <a:sym typeface="Poppins"/>
              </a:rPr>
              <a:t>docu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dirty="0">
              <a:latin typeface="Poppins"/>
              <a:cs typeface="Poppins"/>
              <a:sym typeface="Poppins"/>
            </a:endParaRPr>
          </a:p>
          <a:p>
            <a:pPr marL="0" marR="0" lvl="0" indent="0" algn="l" defTabSz="914400" rtl="0" eaLnBrk="1" fontAlgn="auto" latinLnBrk="0" hangingPunct="1">
              <a:lnSpc>
                <a:spcPct val="100000"/>
              </a:lnSpc>
              <a:spcBef>
                <a:spcPts val="40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Poppins"/>
                <a:cs typeface="Poppins"/>
                <a:sym typeface="Poppins"/>
              </a:rPr>
              <a:t>Main Scope:</a:t>
            </a:r>
            <a:endParaRPr lang="en-US" sz="1400" b="1" i="0" u="none" strike="noStrike" kern="0" cap="none" spc="0" normalizeH="0" baseline="0" noProof="0" dirty="0">
              <a:ln>
                <a:noFill/>
              </a:ln>
              <a:solidFill>
                <a:srgbClr val="000000"/>
              </a:solidFill>
              <a:effectLst/>
              <a:uLnTx/>
              <a:uFillTx/>
              <a:latin typeface="Poppins"/>
              <a:cs typeface="Poppins"/>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9" name="Graphic 8" descr="Diploma outline">
            <a:extLst>
              <a:ext uri="{FF2B5EF4-FFF2-40B4-BE49-F238E27FC236}">
                <a16:creationId xmlns:a16="http://schemas.microsoft.com/office/drawing/2014/main" id="{473C9F20-6B0E-F7B7-F7FE-E2C909B3CB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37688" y="3473566"/>
            <a:ext cx="914400" cy="914400"/>
          </a:xfrm>
          <a:prstGeom prst="rect">
            <a:avLst/>
          </a:prstGeom>
        </p:spPr>
      </p:pic>
      <p:sp>
        <p:nvSpPr>
          <p:cNvPr id="10" name="TextBox 9">
            <a:extLst>
              <a:ext uri="{FF2B5EF4-FFF2-40B4-BE49-F238E27FC236}">
                <a16:creationId xmlns:a16="http://schemas.microsoft.com/office/drawing/2014/main" id="{D446627F-FF87-2068-A5F3-132E096826C4}"/>
              </a:ext>
            </a:extLst>
          </p:cNvPr>
          <p:cNvSpPr txBox="1"/>
          <p:nvPr/>
        </p:nvSpPr>
        <p:spPr>
          <a:xfrm>
            <a:off x="954170" y="4494153"/>
            <a:ext cx="1481436" cy="1482221"/>
          </a:xfrm>
          <a:prstGeom prst="rect">
            <a:avLst/>
          </a:prstGeom>
          <a:noFill/>
        </p:spPr>
        <p:txBody>
          <a:bodyPr wrap="square" lIns="91440" tIns="45720" rIns="91440" bIns="45720" rtlCol="0" anchor="t">
            <a:spAutoFit/>
          </a:bodyPr>
          <a:lstStyle/>
          <a:p>
            <a:pPr algn="ctr"/>
            <a:r>
              <a:rPr lang="en-US" dirty="0">
                <a:latin typeface="Poppins"/>
                <a:cs typeface="Poppins"/>
              </a:rPr>
              <a:t>Management Systems</a:t>
            </a:r>
          </a:p>
          <a:p>
            <a:pPr algn="ctr">
              <a:spcBef>
                <a:spcPts val="800"/>
              </a:spcBef>
            </a:pPr>
            <a:r>
              <a:rPr lang="en-US" dirty="0">
                <a:latin typeface="Poppins"/>
                <a:cs typeface="Poppins"/>
              </a:rPr>
              <a:t>ISO/IEC 17021-1</a:t>
            </a:r>
          </a:p>
          <a:p>
            <a:pPr algn="ctr"/>
            <a:endParaRPr lang="en-US" dirty="0">
              <a:latin typeface="Poppins"/>
              <a:cs typeface="Poppins"/>
            </a:endParaRPr>
          </a:p>
          <a:p>
            <a:pPr algn="ctr"/>
            <a:endParaRPr lang="en-US" dirty="0">
              <a:latin typeface="Poppins"/>
              <a:cs typeface="Poppins"/>
            </a:endParaRPr>
          </a:p>
          <a:p>
            <a:pPr algn="ctr"/>
            <a:endParaRPr lang="en-US" dirty="0">
              <a:latin typeface="Poppins"/>
              <a:cs typeface="Poppins"/>
            </a:endParaRPr>
          </a:p>
        </p:txBody>
      </p:sp>
      <p:sp>
        <p:nvSpPr>
          <p:cNvPr id="13" name="TextBox 12">
            <a:extLst>
              <a:ext uri="{FF2B5EF4-FFF2-40B4-BE49-F238E27FC236}">
                <a16:creationId xmlns:a16="http://schemas.microsoft.com/office/drawing/2014/main" id="{8D66D8C1-96B1-75A5-BE21-229D023326AB}"/>
              </a:ext>
            </a:extLst>
          </p:cNvPr>
          <p:cNvSpPr txBox="1"/>
          <p:nvPr/>
        </p:nvSpPr>
        <p:spPr>
          <a:xfrm>
            <a:off x="3815973" y="4492641"/>
            <a:ext cx="1454606" cy="625812"/>
          </a:xfrm>
          <a:prstGeom prst="rect">
            <a:avLst/>
          </a:prstGeom>
          <a:noFill/>
        </p:spPr>
        <p:txBody>
          <a:bodyPr wrap="square" rtlCol="0">
            <a:spAutoFit/>
          </a:bodyPr>
          <a:lstStyle/>
          <a:p>
            <a:pPr algn="ctr"/>
            <a:r>
              <a:rPr lang="en-US">
                <a:latin typeface="Poppins" panose="00000500000000000000" pitchFamily="2" charset="0"/>
                <a:cs typeface="Poppins" panose="00000500000000000000" pitchFamily="2" charset="0"/>
              </a:rPr>
              <a:t>Product</a:t>
            </a:r>
          </a:p>
          <a:p>
            <a:pPr algn="ctr">
              <a:spcBef>
                <a:spcPts val="800"/>
              </a:spcBef>
            </a:pPr>
            <a:r>
              <a:rPr lang="en-CA">
                <a:latin typeface="Poppins" panose="00000500000000000000" pitchFamily="2" charset="0"/>
                <a:cs typeface="Poppins" panose="00000500000000000000" pitchFamily="2" charset="0"/>
              </a:rPr>
              <a:t>ISO/IEC 17065</a:t>
            </a:r>
          </a:p>
        </p:txBody>
      </p:sp>
      <p:sp>
        <p:nvSpPr>
          <p:cNvPr id="14" name="Google Shape;405;p10">
            <a:extLst>
              <a:ext uri="{FF2B5EF4-FFF2-40B4-BE49-F238E27FC236}">
                <a16:creationId xmlns:a16="http://schemas.microsoft.com/office/drawing/2014/main" id="{31ECDC0A-A5FE-5522-FD4F-126463908A0B}"/>
              </a:ext>
            </a:extLst>
          </p:cNvPr>
          <p:cNvSpPr/>
          <p:nvPr/>
        </p:nvSpPr>
        <p:spPr>
          <a:xfrm>
            <a:off x="6370661" y="3211211"/>
            <a:ext cx="2241217" cy="2432423"/>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pic>
        <p:nvPicPr>
          <p:cNvPr id="15" name="Graphic 14" descr="Cycle with people outline">
            <a:extLst>
              <a:ext uri="{FF2B5EF4-FFF2-40B4-BE49-F238E27FC236}">
                <a16:creationId xmlns:a16="http://schemas.microsoft.com/office/drawing/2014/main" id="{ACFE4CFD-98AC-ED30-54F5-CE52CD60AC4B}"/>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029202" y="3473566"/>
            <a:ext cx="914400" cy="914400"/>
          </a:xfrm>
          <a:prstGeom prst="rect">
            <a:avLst/>
          </a:prstGeom>
        </p:spPr>
      </p:pic>
      <p:sp>
        <p:nvSpPr>
          <p:cNvPr id="16" name="TextBox 15">
            <a:extLst>
              <a:ext uri="{FF2B5EF4-FFF2-40B4-BE49-F238E27FC236}">
                <a16:creationId xmlns:a16="http://schemas.microsoft.com/office/drawing/2014/main" id="{2968E879-5C89-7F20-8C26-F9E8CA3A5221}"/>
              </a:ext>
            </a:extLst>
          </p:cNvPr>
          <p:cNvSpPr txBox="1"/>
          <p:nvPr/>
        </p:nvSpPr>
        <p:spPr>
          <a:xfrm>
            <a:off x="6743766" y="4492641"/>
            <a:ext cx="1454606" cy="625812"/>
          </a:xfrm>
          <a:prstGeom prst="rect">
            <a:avLst/>
          </a:prstGeom>
          <a:noFill/>
        </p:spPr>
        <p:txBody>
          <a:bodyPr wrap="square" rtlCol="0">
            <a:spAutoFit/>
          </a:bodyPr>
          <a:lstStyle/>
          <a:p>
            <a:pPr algn="ctr"/>
            <a:r>
              <a:rPr lang="en-US">
                <a:latin typeface="Poppins" panose="00000500000000000000" pitchFamily="2" charset="0"/>
                <a:cs typeface="Poppins" panose="00000500000000000000" pitchFamily="2" charset="0"/>
              </a:rPr>
              <a:t>Persons</a:t>
            </a:r>
          </a:p>
          <a:p>
            <a:pPr algn="ctr">
              <a:spcBef>
                <a:spcPts val="800"/>
              </a:spcBef>
            </a:pPr>
            <a:r>
              <a:rPr lang="en-CA">
                <a:latin typeface="Poppins" panose="00000500000000000000" pitchFamily="2" charset="0"/>
                <a:cs typeface="Poppins" panose="00000500000000000000" pitchFamily="2" charset="0"/>
              </a:rPr>
              <a:t>ISO/IEC 17024</a:t>
            </a:r>
          </a:p>
        </p:txBody>
      </p:sp>
      <p:pic>
        <p:nvPicPr>
          <p:cNvPr id="24" name="Graphic 23" descr="Box outline">
            <a:extLst>
              <a:ext uri="{FF2B5EF4-FFF2-40B4-BE49-F238E27FC236}">
                <a16:creationId xmlns:a16="http://schemas.microsoft.com/office/drawing/2014/main" id="{23157D95-C97D-0300-5B06-CAD32EC64EE0}"/>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116209" y="3473566"/>
            <a:ext cx="914400" cy="914400"/>
          </a:xfrm>
          <a:prstGeom prst="rect">
            <a:avLst/>
          </a:prstGeom>
        </p:spPr>
      </p:pic>
      <p:sp>
        <p:nvSpPr>
          <p:cNvPr id="6" name="Google Shape;405;p10">
            <a:extLst>
              <a:ext uri="{FF2B5EF4-FFF2-40B4-BE49-F238E27FC236}">
                <a16:creationId xmlns:a16="http://schemas.microsoft.com/office/drawing/2014/main" id="{37BADE41-799B-1952-DFA0-44A9FA86519F}"/>
              </a:ext>
            </a:extLst>
          </p:cNvPr>
          <p:cNvSpPr/>
          <p:nvPr/>
        </p:nvSpPr>
        <p:spPr>
          <a:xfrm>
            <a:off x="9225569" y="3200652"/>
            <a:ext cx="2241217" cy="2432423"/>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pic>
        <p:nvPicPr>
          <p:cNvPr id="18" name="Graphic 17" descr="Checklist outline">
            <a:extLst>
              <a:ext uri="{FF2B5EF4-FFF2-40B4-BE49-F238E27FC236}">
                <a16:creationId xmlns:a16="http://schemas.microsoft.com/office/drawing/2014/main" id="{4C36BF7F-A466-B51E-3DFA-8205298FCA4B}"/>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9903913" y="3473566"/>
            <a:ext cx="914400" cy="914400"/>
          </a:xfrm>
          <a:prstGeom prst="rect">
            <a:avLst/>
          </a:prstGeom>
        </p:spPr>
      </p:pic>
      <p:sp>
        <p:nvSpPr>
          <p:cNvPr id="19" name="TextBox 18">
            <a:extLst>
              <a:ext uri="{FF2B5EF4-FFF2-40B4-BE49-F238E27FC236}">
                <a16:creationId xmlns:a16="http://schemas.microsoft.com/office/drawing/2014/main" id="{4CAD1456-A6E0-15CF-7261-18E7A6E34BEF}"/>
              </a:ext>
            </a:extLst>
          </p:cNvPr>
          <p:cNvSpPr txBox="1"/>
          <p:nvPr/>
        </p:nvSpPr>
        <p:spPr>
          <a:xfrm>
            <a:off x="9633810" y="4473376"/>
            <a:ext cx="1454606" cy="1056700"/>
          </a:xfrm>
          <a:prstGeom prst="rect">
            <a:avLst/>
          </a:prstGeom>
          <a:noFill/>
        </p:spPr>
        <p:txBody>
          <a:bodyPr wrap="square" rtlCol="0">
            <a:spAutoFit/>
          </a:bodyPr>
          <a:lstStyle/>
          <a:p>
            <a:pPr algn="ctr"/>
            <a:r>
              <a:rPr lang="en-US">
                <a:latin typeface="Poppins" panose="00000500000000000000" pitchFamily="2" charset="0"/>
                <a:cs typeface="Poppins" panose="00000500000000000000" pitchFamily="2" charset="0"/>
              </a:rPr>
              <a:t>Validation and Verification</a:t>
            </a:r>
          </a:p>
          <a:p>
            <a:pPr algn="ctr">
              <a:spcBef>
                <a:spcPts val="800"/>
              </a:spcBef>
            </a:pPr>
            <a:r>
              <a:rPr lang="en-US">
                <a:latin typeface="Poppins" panose="00000500000000000000" pitchFamily="2" charset="0"/>
                <a:cs typeface="Poppins" panose="00000500000000000000" pitchFamily="2" charset="0"/>
              </a:rPr>
              <a:t>ISO/IEC 17029</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55"/>
        <p:cNvGrpSpPr/>
        <p:nvPr/>
      </p:nvGrpSpPr>
      <p:grpSpPr>
        <a:xfrm>
          <a:off x="0" y="0"/>
          <a:ext cx="0" cy="0"/>
          <a:chOff x="0" y="0"/>
          <a:chExt cx="0" cy="0"/>
        </a:xfrm>
      </p:grpSpPr>
      <p:sp>
        <p:nvSpPr>
          <p:cNvPr id="1156" name="Google Shape;1156;p17"/>
          <p:cNvSpPr txBox="1"/>
          <p:nvPr/>
        </p:nvSpPr>
        <p:spPr>
          <a:xfrm>
            <a:off x="2147002" y="527364"/>
            <a:ext cx="78979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ABOUT ILAC</a:t>
            </a:r>
            <a:endParaRPr sz="1400" b="0" i="0" u="none" strike="noStrike" cap="none">
              <a:solidFill>
                <a:srgbClr val="000000"/>
              </a:solidFill>
              <a:latin typeface="Arial"/>
              <a:ea typeface="Arial"/>
              <a:cs typeface="Arial"/>
              <a:sym typeface="Arial"/>
            </a:endParaRPr>
          </a:p>
        </p:txBody>
      </p:sp>
      <p:cxnSp>
        <p:nvCxnSpPr>
          <p:cNvPr id="1157" name="Google Shape;1157;p17"/>
          <p:cNvCxnSpPr/>
          <p:nvPr/>
        </p:nvCxnSpPr>
        <p:spPr>
          <a:xfrm>
            <a:off x="5529618" y="111057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158" name="Google Shape;1158;p17"/>
          <p:cNvSpPr/>
          <p:nvPr/>
        </p:nvSpPr>
        <p:spPr>
          <a:xfrm>
            <a:off x="1317218" y="1619245"/>
            <a:ext cx="1658927" cy="1999316"/>
          </a:xfrm>
          <a:custGeom>
            <a:avLst/>
            <a:gdLst/>
            <a:ahLst/>
            <a:cxnLst/>
            <a:rect l="l" t="t" r="r" b="b"/>
            <a:pathLst>
              <a:path w="1658927" h="1999316" extrusionOk="0">
                <a:moveTo>
                  <a:pt x="829560" y="1997368"/>
                </a:moveTo>
                <a:lnTo>
                  <a:pt x="616660" y="1629050"/>
                </a:lnTo>
                <a:cubicBezTo>
                  <a:pt x="173974" y="1511654"/>
                  <a:pt x="-89712" y="1057626"/>
                  <a:pt x="27690" y="614928"/>
                </a:cubicBezTo>
                <a:cubicBezTo>
                  <a:pt x="145093" y="172229"/>
                  <a:pt x="599134" y="-91430"/>
                  <a:pt x="1041820" y="25965"/>
                </a:cubicBezTo>
                <a:cubicBezTo>
                  <a:pt x="1484506" y="143361"/>
                  <a:pt x="1748192" y="597389"/>
                  <a:pt x="1630790" y="1040087"/>
                </a:cubicBezTo>
                <a:cubicBezTo>
                  <a:pt x="1554451" y="1327943"/>
                  <a:pt x="1329651" y="1552684"/>
                  <a:pt x="1041820" y="1629050"/>
                </a:cubicBezTo>
                <a:close/>
                <a:moveTo>
                  <a:pt x="829944" y="15403"/>
                </a:moveTo>
                <a:cubicBezTo>
                  <a:pt x="381465" y="15339"/>
                  <a:pt x="17846" y="378856"/>
                  <a:pt x="17775" y="827316"/>
                </a:cubicBezTo>
                <a:cubicBezTo>
                  <a:pt x="17711" y="1196850"/>
                  <a:pt x="267200" y="1519847"/>
                  <a:pt x="624790" y="1613176"/>
                </a:cubicBezTo>
                <a:lnTo>
                  <a:pt x="628310" y="1614071"/>
                </a:lnTo>
                <a:lnTo>
                  <a:pt x="829560" y="1962673"/>
                </a:lnTo>
                <a:lnTo>
                  <a:pt x="1030682" y="1614327"/>
                </a:lnTo>
                <a:lnTo>
                  <a:pt x="1034203" y="1613430"/>
                </a:lnTo>
                <a:cubicBezTo>
                  <a:pt x="1468260" y="1500452"/>
                  <a:pt x="1728554" y="1057050"/>
                  <a:pt x="1615587" y="622993"/>
                </a:cubicBezTo>
                <a:cubicBezTo>
                  <a:pt x="1522490" y="265237"/>
                  <a:pt x="1199575" y="15531"/>
                  <a:pt x="829944" y="1540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59" name="Google Shape;1159;p17"/>
          <p:cNvSpPr/>
          <p:nvPr/>
        </p:nvSpPr>
        <p:spPr>
          <a:xfrm>
            <a:off x="2072493" y="3778906"/>
            <a:ext cx="150041" cy="150043"/>
          </a:xfrm>
          <a:custGeom>
            <a:avLst/>
            <a:gdLst/>
            <a:ahLst/>
            <a:cxnLst/>
            <a:rect l="l" t="t" r="r" b="b"/>
            <a:pathLst>
              <a:path w="150041" h="150043" extrusionOk="0">
                <a:moveTo>
                  <a:pt x="74989" y="148095"/>
                </a:moveTo>
                <a:cubicBezTo>
                  <a:pt x="116423" y="147967"/>
                  <a:pt x="149920" y="114297"/>
                  <a:pt x="149818" y="72882"/>
                </a:cubicBezTo>
                <a:cubicBezTo>
                  <a:pt x="149709" y="31466"/>
                  <a:pt x="116033" y="-2076"/>
                  <a:pt x="74605" y="-1948"/>
                </a:cubicBezTo>
                <a:cubicBezTo>
                  <a:pt x="33171" y="-1820"/>
                  <a:pt x="-332" y="31850"/>
                  <a:pt x="-223" y="73265"/>
                </a:cubicBezTo>
                <a:cubicBezTo>
                  <a:pt x="-223" y="73329"/>
                  <a:pt x="-223" y="73393"/>
                  <a:pt x="-223" y="73457"/>
                </a:cubicBezTo>
                <a:cubicBezTo>
                  <a:pt x="-44" y="114808"/>
                  <a:pt x="33619" y="148223"/>
                  <a:pt x="74989" y="14809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0" name="Google Shape;1160;p17"/>
          <p:cNvSpPr/>
          <p:nvPr/>
        </p:nvSpPr>
        <p:spPr>
          <a:xfrm>
            <a:off x="1992414" y="3697740"/>
            <a:ext cx="309942" cy="309942"/>
          </a:xfrm>
          <a:custGeom>
            <a:avLst/>
            <a:gdLst/>
            <a:ahLst/>
            <a:cxnLst/>
            <a:rect l="l" t="t" r="r" b="b"/>
            <a:pathLst>
              <a:path w="309942" h="309942" extrusionOk="0">
                <a:moveTo>
                  <a:pt x="155388" y="307993"/>
                </a:moveTo>
                <a:cubicBezTo>
                  <a:pt x="69799" y="308377"/>
                  <a:pt x="136" y="239245"/>
                  <a:pt x="-222" y="153664"/>
                </a:cubicBezTo>
                <a:cubicBezTo>
                  <a:pt x="-574" y="68080"/>
                  <a:pt x="68525" y="-1562"/>
                  <a:pt x="154108" y="-1947"/>
                </a:cubicBezTo>
                <a:cubicBezTo>
                  <a:pt x="239697" y="-2267"/>
                  <a:pt x="309366" y="66801"/>
                  <a:pt x="309718" y="152384"/>
                </a:cubicBezTo>
                <a:cubicBezTo>
                  <a:pt x="309718" y="152384"/>
                  <a:pt x="309718" y="152448"/>
                  <a:pt x="309718" y="152448"/>
                </a:cubicBezTo>
                <a:cubicBezTo>
                  <a:pt x="309897" y="237965"/>
                  <a:pt x="240894" y="307482"/>
                  <a:pt x="155388" y="307993"/>
                </a:cubicBezTo>
                <a:close/>
                <a:moveTo>
                  <a:pt x="155388" y="297367"/>
                </a:moveTo>
                <a:cubicBezTo>
                  <a:pt x="235107" y="296983"/>
                  <a:pt x="299444" y="232077"/>
                  <a:pt x="299092" y="152384"/>
                </a:cubicBezTo>
                <a:cubicBezTo>
                  <a:pt x="298734" y="72689"/>
                  <a:pt x="233827" y="8360"/>
                  <a:pt x="154108" y="8678"/>
                </a:cubicBezTo>
                <a:cubicBezTo>
                  <a:pt x="74491" y="9063"/>
                  <a:pt x="10192" y="73778"/>
                  <a:pt x="10403" y="153407"/>
                </a:cubicBezTo>
                <a:cubicBezTo>
                  <a:pt x="10653" y="233164"/>
                  <a:pt x="75502" y="297624"/>
                  <a:pt x="155260" y="297367"/>
                </a:cubicBezTo>
                <a:cubicBezTo>
                  <a:pt x="155298" y="297367"/>
                  <a:pt x="155343" y="297367"/>
                  <a:pt x="155388" y="29736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1" name="Google Shape;1161;p17"/>
          <p:cNvSpPr/>
          <p:nvPr/>
        </p:nvSpPr>
        <p:spPr>
          <a:xfrm>
            <a:off x="1424767" y="1735429"/>
            <a:ext cx="1435378" cy="1435375"/>
          </a:xfrm>
          <a:custGeom>
            <a:avLst/>
            <a:gdLst/>
            <a:ahLst/>
            <a:cxnLst/>
            <a:rect l="l" t="t" r="r" b="b"/>
            <a:pathLst>
              <a:path w="1435378" h="1435375" extrusionOk="0">
                <a:moveTo>
                  <a:pt x="717530" y="-1948"/>
                </a:moveTo>
                <a:cubicBezTo>
                  <a:pt x="321162" y="-2012"/>
                  <a:pt x="-185" y="319321"/>
                  <a:pt x="-224" y="715676"/>
                </a:cubicBezTo>
                <a:cubicBezTo>
                  <a:pt x="-262" y="1112030"/>
                  <a:pt x="321034" y="1433364"/>
                  <a:pt x="717402" y="1433428"/>
                </a:cubicBezTo>
                <a:cubicBezTo>
                  <a:pt x="1113769" y="1433492"/>
                  <a:pt x="1435116" y="1112158"/>
                  <a:pt x="1435155" y="715804"/>
                </a:cubicBezTo>
                <a:cubicBezTo>
                  <a:pt x="1435155" y="715740"/>
                  <a:pt x="1435155" y="715740"/>
                  <a:pt x="1435155" y="715676"/>
                </a:cubicBezTo>
                <a:cubicBezTo>
                  <a:pt x="1435155" y="319321"/>
                  <a:pt x="1113865" y="-1948"/>
                  <a:pt x="717530" y="-1948"/>
                </a:cubicBezTo>
                <a:close/>
              </a:path>
            </a:pathLst>
          </a:custGeom>
          <a:solidFill>
            <a:srgbClr val="FFFFFF"/>
          </a:solidFill>
          <a:ln>
            <a:noFill/>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2" name="Google Shape;1162;p17"/>
          <p:cNvSpPr/>
          <p:nvPr/>
        </p:nvSpPr>
        <p:spPr>
          <a:xfrm>
            <a:off x="5266216" y="1619245"/>
            <a:ext cx="1658927" cy="1999316"/>
          </a:xfrm>
          <a:custGeom>
            <a:avLst/>
            <a:gdLst/>
            <a:ahLst/>
            <a:cxnLst/>
            <a:rect l="l" t="t" r="r" b="b"/>
            <a:pathLst>
              <a:path w="1658927" h="1999316" extrusionOk="0">
                <a:moveTo>
                  <a:pt x="829560" y="1997368"/>
                </a:moveTo>
                <a:lnTo>
                  <a:pt x="616660" y="1629050"/>
                </a:lnTo>
                <a:cubicBezTo>
                  <a:pt x="173974" y="1511654"/>
                  <a:pt x="-89712" y="1057626"/>
                  <a:pt x="27690" y="614928"/>
                </a:cubicBezTo>
                <a:cubicBezTo>
                  <a:pt x="145093" y="172229"/>
                  <a:pt x="599134" y="-91430"/>
                  <a:pt x="1041820" y="25965"/>
                </a:cubicBezTo>
                <a:cubicBezTo>
                  <a:pt x="1484506" y="143361"/>
                  <a:pt x="1748192" y="597389"/>
                  <a:pt x="1630790" y="1040087"/>
                </a:cubicBezTo>
                <a:cubicBezTo>
                  <a:pt x="1554451" y="1327943"/>
                  <a:pt x="1329651" y="1552684"/>
                  <a:pt x="1041820" y="1629050"/>
                </a:cubicBezTo>
                <a:close/>
                <a:moveTo>
                  <a:pt x="829944" y="15403"/>
                </a:moveTo>
                <a:cubicBezTo>
                  <a:pt x="381465" y="15339"/>
                  <a:pt x="17846" y="378856"/>
                  <a:pt x="17775" y="827316"/>
                </a:cubicBezTo>
                <a:cubicBezTo>
                  <a:pt x="17711" y="1196850"/>
                  <a:pt x="267200" y="1519847"/>
                  <a:pt x="624790" y="1613176"/>
                </a:cubicBezTo>
                <a:lnTo>
                  <a:pt x="628310" y="1614071"/>
                </a:lnTo>
                <a:lnTo>
                  <a:pt x="829560" y="1962673"/>
                </a:lnTo>
                <a:lnTo>
                  <a:pt x="1030682" y="1614327"/>
                </a:lnTo>
                <a:lnTo>
                  <a:pt x="1034203" y="1613430"/>
                </a:lnTo>
                <a:cubicBezTo>
                  <a:pt x="1468260" y="1500452"/>
                  <a:pt x="1728554" y="1057050"/>
                  <a:pt x="1615587" y="622993"/>
                </a:cubicBezTo>
                <a:cubicBezTo>
                  <a:pt x="1522490" y="265237"/>
                  <a:pt x="1199575" y="15531"/>
                  <a:pt x="829944" y="15403"/>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3" name="Google Shape;1163;p17"/>
          <p:cNvSpPr/>
          <p:nvPr/>
        </p:nvSpPr>
        <p:spPr>
          <a:xfrm>
            <a:off x="6021491" y="3778906"/>
            <a:ext cx="150041" cy="150043"/>
          </a:xfrm>
          <a:custGeom>
            <a:avLst/>
            <a:gdLst/>
            <a:ahLst/>
            <a:cxnLst/>
            <a:rect l="l" t="t" r="r" b="b"/>
            <a:pathLst>
              <a:path w="150041" h="150043" extrusionOk="0">
                <a:moveTo>
                  <a:pt x="74989" y="148095"/>
                </a:moveTo>
                <a:cubicBezTo>
                  <a:pt x="116423" y="147967"/>
                  <a:pt x="149920" y="114297"/>
                  <a:pt x="149818" y="72882"/>
                </a:cubicBezTo>
                <a:cubicBezTo>
                  <a:pt x="149709" y="31466"/>
                  <a:pt x="116033" y="-2076"/>
                  <a:pt x="74605" y="-1948"/>
                </a:cubicBezTo>
                <a:cubicBezTo>
                  <a:pt x="33171" y="-1820"/>
                  <a:pt x="-332" y="31850"/>
                  <a:pt x="-223" y="73265"/>
                </a:cubicBezTo>
                <a:cubicBezTo>
                  <a:pt x="-223" y="73329"/>
                  <a:pt x="-223" y="73393"/>
                  <a:pt x="-223" y="73457"/>
                </a:cubicBezTo>
                <a:cubicBezTo>
                  <a:pt x="-44" y="114808"/>
                  <a:pt x="33619" y="148223"/>
                  <a:pt x="74989" y="14809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4" name="Google Shape;1164;p17"/>
          <p:cNvSpPr/>
          <p:nvPr/>
        </p:nvSpPr>
        <p:spPr>
          <a:xfrm>
            <a:off x="5941412" y="3697740"/>
            <a:ext cx="309942" cy="309942"/>
          </a:xfrm>
          <a:custGeom>
            <a:avLst/>
            <a:gdLst/>
            <a:ahLst/>
            <a:cxnLst/>
            <a:rect l="l" t="t" r="r" b="b"/>
            <a:pathLst>
              <a:path w="309942" h="309942" extrusionOk="0">
                <a:moveTo>
                  <a:pt x="155388" y="307993"/>
                </a:moveTo>
                <a:cubicBezTo>
                  <a:pt x="69799" y="308377"/>
                  <a:pt x="136" y="239245"/>
                  <a:pt x="-222" y="153664"/>
                </a:cubicBezTo>
                <a:cubicBezTo>
                  <a:pt x="-574" y="68080"/>
                  <a:pt x="68525" y="-1562"/>
                  <a:pt x="154108" y="-1947"/>
                </a:cubicBezTo>
                <a:cubicBezTo>
                  <a:pt x="239697" y="-2267"/>
                  <a:pt x="309366" y="66801"/>
                  <a:pt x="309718" y="152384"/>
                </a:cubicBezTo>
                <a:cubicBezTo>
                  <a:pt x="309718" y="152384"/>
                  <a:pt x="309718" y="152448"/>
                  <a:pt x="309718" y="152448"/>
                </a:cubicBezTo>
                <a:cubicBezTo>
                  <a:pt x="309897" y="237965"/>
                  <a:pt x="240894" y="307482"/>
                  <a:pt x="155388" y="307993"/>
                </a:cubicBezTo>
                <a:close/>
                <a:moveTo>
                  <a:pt x="155388" y="297367"/>
                </a:moveTo>
                <a:cubicBezTo>
                  <a:pt x="235107" y="296983"/>
                  <a:pt x="299444" y="232077"/>
                  <a:pt x="299092" y="152384"/>
                </a:cubicBezTo>
                <a:cubicBezTo>
                  <a:pt x="298734" y="72689"/>
                  <a:pt x="233827" y="8360"/>
                  <a:pt x="154108" y="8678"/>
                </a:cubicBezTo>
                <a:cubicBezTo>
                  <a:pt x="74491" y="9063"/>
                  <a:pt x="10192" y="73778"/>
                  <a:pt x="10403" y="153407"/>
                </a:cubicBezTo>
                <a:cubicBezTo>
                  <a:pt x="10653" y="233164"/>
                  <a:pt x="75502" y="297624"/>
                  <a:pt x="155260" y="297367"/>
                </a:cubicBezTo>
                <a:cubicBezTo>
                  <a:pt x="155298" y="297367"/>
                  <a:pt x="155343" y="297367"/>
                  <a:pt x="155388" y="29736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5" name="Google Shape;1165;p17"/>
          <p:cNvSpPr/>
          <p:nvPr/>
        </p:nvSpPr>
        <p:spPr>
          <a:xfrm>
            <a:off x="5373765" y="1735429"/>
            <a:ext cx="1435378" cy="1435375"/>
          </a:xfrm>
          <a:custGeom>
            <a:avLst/>
            <a:gdLst/>
            <a:ahLst/>
            <a:cxnLst/>
            <a:rect l="l" t="t" r="r" b="b"/>
            <a:pathLst>
              <a:path w="1435378" h="1435375" extrusionOk="0">
                <a:moveTo>
                  <a:pt x="717530" y="-1948"/>
                </a:moveTo>
                <a:cubicBezTo>
                  <a:pt x="321162" y="-2012"/>
                  <a:pt x="-185" y="319321"/>
                  <a:pt x="-224" y="715676"/>
                </a:cubicBezTo>
                <a:cubicBezTo>
                  <a:pt x="-262" y="1112030"/>
                  <a:pt x="321034" y="1433364"/>
                  <a:pt x="717402" y="1433428"/>
                </a:cubicBezTo>
                <a:cubicBezTo>
                  <a:pt x="1113769" y="1433492"/>
                  <a:pt x="1435116" y="1112158"/>
                  <a:pt x="1435155" y="715804"/>
                </a:cubicBezTo>
                <a:cubicBezTo>
                  <a:pt x="1435155" y="715740"/>
                  <a:pt x="1435155" y="715740"/>
                  <a:pt x="1435155" y="715676"/>
                </a:cubicBezTo>
                <a:cubicBezTo>
                  <a:pt x="1435155" y="319321"/>
                  <a:pt x="1113865" y="-1948"/>
                  <a:pt x="717530" y="-1948"/>
                </a:cubicBezTo>
                <a:close/>
              </a:path>
            </a:pathLst>
          </a:custGeom>
          <a:solidFill>
            <a:srgbClr val="FFFFFF"/>
          </a:solidFill>
          <a:ln>
            <a:noFill/>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6" name="Google Shape;1166;p17"/>
          <p:cNvSpPr/>
          <p:nvPr/>
        </p:nvSpPr>
        <p:spPr>
          <a:xfrm>
            <a:off x="9215214" y="1619245"/>
            <a:ext cx="1658927" cy="1999316"/>
          </a:xfrm>
          <a:custGeom>
            <a:avLst/>
            <a:gdLst/>
            <a:ahLst/>
            <a:cxnLst/>
            <a:rect l="l" t="t" r="r" b="b"/>
            <a:pathLst>
              <a:path w="1658927" h="1999316" extrusionOk="0">
                <a:moveTo>
                  <a:pt x="829560" y="1997368"/>
                </a:moveTo>
                <a:lnTo>
                  <a:pt x="616660" y="1629050"/>
                </a:lnTo>
                <a:cubicBezTo>
                  <a:pt x="173974" y="1511654"/>
                  <a:pt x="-89712" y="1057626"/>
                  <a:pt x="27690" y="614928"/>
                </a:cubicBezTo>
                <a:cubicBezTo>
                  <a:pt x="145093" y="172229"/>
                  <a:pt x="599134" y="-91430"/>
                  <a:pt x="1041820" y="25965"/>
                </a:cubicBezTo>
                <a:cubicBezTo>
                  <a:pt x="1484506" y="143361"/>
                  <a:pt x="1748192" y="597389"/>
                  <a:pt x="1630790" y="1040087"/>
                </a:cubicBezTo>
                <a:cubicBezTo>
                  <a:pt x="1554451" y="1327943"/>
                  <a:pt x="1329651" y="1552684"/>
                  <a:pt x="1041820" y="1629050"/>
                </a:cubicBezTo>
                <a:close/>
                <a:moveTo>
                  <a:pt x="829944" y="15403"/>
                </a:moveTo>
                <a:cubicBezTo>
                  <a:pt x="381465" y="15339"/>
                  <a:pt x="17846" y="378856"/>
                  <a:pt x="17775" y="827316"/>
                </a:cubicBezTo>
                <a:cubicBezTo>
                  <a:pt x="17711" y="1196850"/>
                  <a:pt x="267200" y="1519847"/>
                  <a:pt x="624790" y="1613176"/>
                </a:cubicBezTo>
                <a:lnTo>
                  <a:pt x="628310" y="1614071"/>
                </a:lnTo>
                <a:lnTo>
                  <a:pt x="829560" y="1962673"/>
                </a:lnTo>
                <a:lnTo>
                  <a:pt x="1030682" y="1614327"/>
                </a:lnTo>
                <a:lnTo>
                  <a:pt x="1034203" y="1613430"/>
                </a:lnTo>
                <a:cubicBezTo>
                  <a:pt x="1468260" y="1500452"/>
                  <a:pt x="1728554" y="1057050"/>
                  <a:pt x="1615587" y="622993"/>
                </a:cubicBezTo>
                <a:cubicBezTo>
                  <a:pt x="1522490" y="265237"/>
                  <a:pt x="1199575" y="15531"/>
                  <a:pt x="829944" y="1540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7" name="Google Shape;1167;p17"/>
          <p:cNvSpPr/>
          <p:nvPr/>
        </p:nvSpPr>
        <p:spPr>
          <a:xfrm>
            <a:off x="9970489" y="3778906"/>
            <a:ext cx="150041" cy="150043"/>
          </a:xfrm>
          <a:custGeom>
            <a:avLst/>
            <a:gdLst/>
            <a:ahLst/>
            <a:cxnLst/>
            <a:rect l="l" t="t" r="r" b="b"/>
            <a:pathLst>
              <a:path w="150041" h="150043" extrusionOk="0">
                <a:moveTo>
                  <a:pt x="74989" y="148095"/>
                </a:moveTo>
                <a:cubicBezTo>
                  <a:pt x="116423" y="147967"/>
                  <a:pt x="149920" y="114297"/>
                  <a:pt x="149818" y="72882"/>
                </a:cubicBezTo>
                <a:cubicBezTo>
                  <a:pt x="149709" y="31466"/>
                  <a:pt x="116033" y="-2076"/>
                  <a:pt x="74605" y="-1948"/>
                </a:cubicBezTo>
                <a:cubicBezTo>
                  <a:pt x="33171" y="-1820"/>
                  <a:pt x="-332" y="31850"/>
                  <a:pt x="-223" y="73265"/>
                </a:cubicBezTo>
                <a:cubicBezTo>
                  <a:pt x="-223" y="73329"/>
                  <a:pt x="-223" y="73393"/>
                  <a:pt x="-223" y="73457"/>
                </a:cubicBezTo>
                <a:cubicBezTo>
                  <a:pt x="-44" y="114808"/>
                  <a:pt x="33619" y="148223"/>
                  <a:pt x="74989" y="14809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8" name="Google Shape;1168;p17"/>
          <p:cNvSpPr/>
          <p:nvPr/>
        </p:nvSpPr>
        <p:spPr>
          <a:xfrm>
            <a:off x="9890410" y="3697740"/>
            <a:ext cx="309942" cy="309942"/>
          </a:xfrm>
          <a:custGeom>
            <a:avLst/>
            <a:gdLst/>
            <a:ahLst/>
            <a:cxnLst/>
            <a:rect l="l" t="t" r="r" b="b"/>
            <a:pathLst>
              <a:path w="309942" h="309942" extrusionOk="0">
                <a:moveTo>
                  <a:pt x="155388" y="307993"/>
                </a:moveTo>
                <a:cubicBezTo>
                  <a:pt x="69799" y="308377"/>
                  <a:pt x="136" y="239245"/>
                  <a:pt x="-222" y="153664"/>
                </a:cubicBezTo>
                <a:cubicBezTo>
                  <a:pt x="-574" y="68080"/>
                  <a:pt x="68525" y="-1562"/>
                  <a:pt x="154108" y="-1947"/>
                </a:cubicBezTo>
                <a:cubicBezTo>
                  <a:pt x="239697" y="-2267"/>
                  <a:pt x="309366" y="66801"/>
                  <a:pt x="309718" y="152384"/>
                </a:cubicBezTo>
                <a:cubicBezTo>
                  <a:pt x="309718" y="152384"/>
                  <a:pt x="309718" y="152448"/>
                  <a:pt x="309718" y="152448"/>
                </a:cubicBezTo>
                <a:cubicBezTo>
                  <a:pt x="309897" y="237965"/>
                  <a:pt x="240894" y="307482"/>
                  <a:pt x="155388" y="307993"/>
                </a:cubicBezTo>
                <a:close/>
                <a:moveTo>
                  <a:pt x="155388" y="297367"/>
                </a:moveTo>
                <a:cubicBezTo>
                  <a:pt x="235107" y="296983"/>
                  <a:pt x="299444" y="232077"/>
                  <a:pt x="299092" y="152384"/>
                </a:cubicBezTo>
                <a:cubicBezTo>
                  <a:pt x="298734" y="72689"/>
                  <a:pt x="233827" y="8360"/>
                  <a:pt x="154108" y="8678"/>
                </a:cubicBezTo>
                <a:cubicBezTo>
                  <a:pt x="74491" y="9063"/>
                  <a:pt x="10192" y="73778"/>
                  <a:pt x="10403" y="153407"/>
                </a:cubicBezTo>
                <a:cubicBezTo>
                  <a:pt x="10653" y="233164"/>
                  <a:pt x="75502" y="297624"/>
                  <a:pt x="155260" y="297367"/>
                </a:cubicBezTo>
                <a:cubicBezTo>
                  <a:pt x="155298" y="297367"/>
                  <a:pt x="155343" y="297367"/>
                  <a:pt x="155388" y="29736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9" name="Google Shape;1169;p17"/>
          <p:cNvSpPr/>
          <p:nvPr/>
        </p:nvSpPr>
        <p:spPr>
          <a:xfrm>
            <a:off x="9322763" y="1735429"/>
            <a:ext cx="1435378" cy="1435375"/>
          </a:xfrm>
          <a:custGeom>
            <a:avLst/>
            <a:gdLst/>
            <a:ahLst/>
            <a:cxnLst/>
            <a:rect l="l" t="t" r="r" b="b"/>
            <a:pathLst>
              <a:path w="1435378" h="1435375" extrusionOk="0">
                <a:moveTo>
                  <a:pt x="717530" y="-1948"/>
                </a:moveTo>
                <a:cubicBezTo>
                  <a:pt x="321162" y="-2012"/>
                  <a:pt x="-185" y="319321"/>
                  <a:pt x="-224" y="715676"/>
                </a:cubicBezTo>
                <a:cubicBezTo>
                  <a:pt x="-262" y="1112030"/>
                  <a:pt x="321034" y="1433364"/>
                  <a:pt x="717402" y="1433428"/>
                </a:cubicBezTo>
                <a:cubicBezTo>
                  <a:pt x="1113769" y="1433492"/>
                  <a:pt x="1435116" y="1112158"/>
                  <a:pt x="1435155" y="715804"/>
                </a:cubicBezTo>
                <a:cubicBezTo>
                  <a:pt x="1435155" y="715740"/>
                  <a:pt x="1435155" y="715740"/>
                  <a:pt x="1435155" y="715676"/>
                </a:cubicBezTo>
                <a:cubicBezTo>
                  <a:pt x="1435155" y="319321"/>
                  <a:pt x="1113865" y="-1948"/>
                  <a:pt x="717530" y="-1948"/>
                </a:cubicBezTo>
                <a:close/>
              </a:path>
            </a:pathLst>
          </a:custGeom>
          <a:solidFill>
            <a:srgbClr val="FFFFFF"/>
          </a:solidFill>
          <a:ln>
            <a:noFill/>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70" name="Google Shape;1170;p17"/>
          <p:cNvSpPr txBox="1"/>
          <p:nvPr/>
        </p:nvSpPr>
        <p:spPr>
          <a:xfrm>
            <a:off x="703964" y="4214269"/>
            <a:ext cx="2886075" cy="127727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LAC is the international authority on laboratory, inspection, reference material producer and proficiency testing provider accreditation with a membership </a:t>
            </a:r>
            <a:r>
              <a:rPr lang="en-US" sz="1100">
                <a:solidFill>
                  <a:schemeClr val="dk1"/>
                </a:solidFill>
                <a:latin typeface="Poppins"/>
                <a:ea typeface="Poppins"/>
                <a:cs typeface="Poppins"/>
                <a:sym typeface="Poppins"/>
              </a:rPr>
              <a:t>consisting</a:t>
            </a:r>
            <a:r>
              <a:rPr lang="en-US" sz="1100" b="0" i="0" u="none" strike="noStrike" cap="none">
                <a:solidFill>
                  <a:schemeClr val="dk1"/>
                </a:solidFill>
                <a:latin typeface="Poppins"/>
                <a:ea typeface="Poppins"/>
                <a:cs typeface="Poppins"/>
                <a:sym typeface="Poppins"/>
              </a:rPr>
              <a:t> of accreditation bodies and affiliated </a:t>
            </a:r>
            <a:r>
              <a:rPr lang="en-US" sz="1100" b="0" i="0" u="none" strike="noStrike" cap="none" err="1">
                <a:solidFill>
                  <a:schemeClr val="dk1"/>
                </a:solidFill>
                <a:latin typeface="Poppins"/>
                <a:ea typeface="Poppins"/>
                <a:cs typeface="Poppins"/>
                <a:sym typeface="Poppins"/>
              </a:rPr>
              <a:t>organisations</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throughout</a:t>
            </a:r>
            <a:r>
              <a:rPr lang="en-US" sz="1100" b="0" i="0" u="none" strike="noStrike" cap="none">
                <a:solidFill>
                  <a:schemeClr val="dk1"/>
                </a:solidFill>
                <a:latin typeface="Poppins"/>
                <a:ea typeface="Poppins"/>
                <a:cs typeface="Poppins"/>
                <a:sym typeface="Poppins"/>
              </a:rPr>
              <a:t> the world.</a:t>
            </a:r>
            <a:endParaRPr lang="en-US" sz="1400" b="0" i="0" u="none" strike="noStrike" cap="none">
              <a:solidFill>
                <a:schemeClr val="dk1"/>
              </a:solidFill>
              <a:latin typeface="Arial"/>
              <a:ea typeface="Arial"/>
              <a:cs typeface="Arial"/>
            </a:endParaRPr>
          </a:p>
        </p:txBody>
      </p:sp>
      <p:sp>
        <p:nvSpPr>
          <p:cNvPr id="1171" name="Google Shape;1171;p17"/>
          <p:cNvSpPr txBox="1"/>
          <p:nvPr/>
        </p:nvSpPr>
        <p:spPr>
          <a:xfrm>
            <a:off x="4591049" y="4214269"/>
            <a:ext cx="3009902" cy="161582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LAC promotes the increased global use and acceptance by industry and government, of the results from accredited laboratories and inspection bodies, proficiency testing programs from accredited proficiency testing providers and reference materials produced by accredited reference material producers. </a:t>
            </a:r>
            <a:endParaRPr sz="1400" b="0" i="0" u="none" strike="noStrike" cap="none">
              <a:solidFill>
                <a:srgbClr val="000000"/>
              </a:solidFill>
              <a:latin typeface="Arial"/>
              <a:ea typeface="Arial"/>
              <a:cs typeface="Arial"/>
              <a:sym typeface="Arial"/>
            </a:endParaRPr>
          </a:p>
        </p:txBody>
      </p:sp>
      <p:sp>
        <p:nvSpPr>
          <p:cNvPr id="1172" name="Google Shape;1172;p17"/>
          <p:cNvSpPr txBox="1"/>
          <p:nvPr/>
        </p:nvSpPr>
        <p:spPr>
          <a:xfrm>
            <a:off x="8774298" y="4214269"/>
            <a:ext cx="2541402" cy="144655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LAC operates and manages the </a:t>
            </a:r>
            <a:r>
              <a:rPr lang="en-US" sz="1100">
                <a:solidFill>
                  <a:schemeClr val="dk1"/>
                </a:solidFill>
                <a:latin typeface="Poppins"/>
                <a:ea typeface="Poppins"/>
                <a:cs typeface="Poppins"/>
                <a:sym typeface="Poppins"/>
              </a:rPr>
              <a:t>multilateral</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Mutual</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Recognition</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Arrangement</a:t>
            </a:r>
            <a:r>
              <a:rPr lang="en-US" sz="1100" b="0" i="0" u="none" strike="noStrike" cap="none">
                <a:solidFill>
                  <a:schemeClr val="dk1"/>
                </a:solidFill>
                <a:latin typeface="Poppins"/>
                <a:ea typeface="Poppins"/>
                <a:cs typeface="Poppins"/>
                <a:sym typeface="Poppins"/>
              </a:rPr>
              <a:t> (the ILAC MRA) to promote the acceptance of accredited test, calibration and inspection data and results, proficiency testing providers and reference material producers.</a:t>
            </a:r>
            <a:endParaRPr sz="1400" b="0" i="0" u="none" strike="noStrike" cap="none">
              <a:solidFill>
                <a:schemeClr val="dk1"/>
              </a:solidFill>
              <a:latin typeface="Arial"/>
              <a:ea typeface="Arial"/>
              <a:cs typeface="Arial"/>
              <a:sym typeface="Arial"/>
            </a:endParaRPr>
          </a:p>
        </p:txBody>
      </p:sp>
      <p:pic>
        <p:nvPicPr>
          <p:cNvPr id="1173" name="Google Shape;1173;p17"/>
          <p:cNvPicPr preferRelativeResize="0"/>
          <p:nvPr/>
        </p:nvPicPr>
        <p:blipFill rotWithShape="1">
          <a:blip r:embed="rId3">
            <a:alphaModFix/>
          </a:blip>
          <a:srcRect/>
          <a:stretch/>
        </p:blipFill>
        <p:spPr>
          <a:xfrm>
            <a:off x="1830637" y="2132203"/>
            <a:ext cx="623638" cy="641826"/>
          </a:xfrm>
          <a:prstGeom prst="rect">
            <a:avLst/>
          </a:prstGeom>
          <a:noFill/>
          <a:ln>
            <a:noFill/>
          </a:ln>
        </p:spPr>
      </p:pic>
      <p:pic>
        <p:nvPicPr>
          <p:cNvPr id="1174" name="Google Shape;1174;p17"/>
          <p:cNvPicPr preferRelativeResize="0"/>
          <p:nvPr/>
        </p:nvPicPr>
        <p:blipFill rotWithShape="1">
          <a:blip r:embed="rId4">
            <a:alphaModFix/>
          </a:blip>
          <a:srcRect/>
          <a:stretch/>
        </p:blipFill>
        <p:spPr>
          <a:xfrm>
            <a:off x="5756737" y="2197894"/>
            <a:ext cx="669434" cy="510444"/>
          </a:xfrm>
          <a:prstGeom prst="rect">
            <a:avLst/>
          </a:prstGeom>
          <a:noFill/>
          <a:ln>
            <a:noFill/>
          </a:ln>
        </p:spPr>
      </p:pic>
      <p:pic>
        <p:nvPicPr>
          <p:cNvPr id="1175" name="Google Shape;1175;p17"/>
          <p:cNvPicPr preferRelativeResize="0"/>
          <p:nvPr/>
        </p:nvPicPr>
        <p:blipFill rotWithShape="1">
          <a:blip r:embed="rId5">
            <a:alphaModFix/>
          </a:blip>
          <a:srcRect/>
          <a:stretch/>
        </p:blipFill>
        <p:spPr>
          <a:xfrm>
            <a:off x="9719869" y="2132533"/>
            <a:ext cx="641166" cy="641166"/>
          </a:xfrm>
          <a:prstGeom prst="rect">
            <a:avLst/>
          </a:prstGeom>
          <a:noFill/>
          <a:ln>
            <a:noFill/>
          </a:ln>
        </p:spPr>
      </p:pic>
      <p:sp>
        <p:nvSpPr>
          <p:cNvPr id="1176" name="Google Shape;1176;p17"/>
          <p:cNvSpPr/>
          <p:nvPr/>
        </p:nvSpPr>
        <p:spPr>
          <a:xfrm>
            <a:off x="-972853" y="-36660"/>
            <a:ext cx="2886075" cy="1926285"/>
          </a:xfrm>
          <a:custGeom>
            <a:avLst/>
            <a:gdLst/>
            <a:ahLst/>
            <a:cxnLst/>
            <a:rect l="l" t="t" r="r" b="b"/>
            <a:pathLst>
              <a:path w="4405638" h="2940503" extrusionOk="0">
                <a:moveTo>
                  <a:pt x="280719" y="0"/>
                </a:moveTo>
                <a:lnTo>
                  <a:pt x="4405638" y="0"/>
                </a:lnTo>
                <a:lnTo>
                  <a:pt x="4404402" y="1553"/>
                </a:lnTo>
                <a:cubicBezTo>
                  <a:pt x="4084635" y="332929"/>
                  <a:pt x="3564238" y="324360"/>
                  <a:pt x="3139100" y="494519"/>
                </a:cubicBezTo>
                <a:cubicBezTo>
                  <a:pt x="2478284" y="757429"/>
                  <a:pt x="2090020" y="1429819"/>
                  <a:pt x="1771896" y="2065654"/>
                </a:cubicBezTo>
                <a:cubicBezTo>
                  <a:pt x="1578014" y="2458025"/>
                  <a:pt x="1313647" y="2907766"/>
                  <a:pt x="877847" y="2938693"/>
                </a:cubicBezTo>
                <a:cubicBezTo>
                  <a:pt x="521069" y="2966207"/>
                  <a:pt x="200578" y="2676139"/>
                  <a:pt x="80450" y="2338305"/>
                </a:cubicBezTo>
                <a:cubicBezTo>
                  <a:pt x="-39678" y="2000470"/>
                  <a:pt x="-2900" y="1629473"/>
                  <a:pt x="47345" y="1275589"/>
                </a:cubicBezTo>
                <a:cubicBezTo>
                  <a:pt x="104684" y="863931"/>
                  <a:pt x="178838" y="454428"/>
                  <a:pt x="269244" y="4847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80"/>
        <p:cNvGrpSpPr/>
        <p:nvPr/>
      </p:nvGrpSpPr>
      <p:grpSpPr>
        <a:xfrm>
          <a:off x="0" y="0"/>
          <a:ext cx="0" cy="0"/>
          <a:chOff x="0" y="0"/>
          <a:chExt cx="0" cy="0"/>
        </a:xfrm>
      </p:grpSpPr>
      <p:sp>
        <p:nvSpPr>
          <p:cNvPr id="1181" name="Google Shape;1181;p18"/>
          <p:cNvSpPr txBox="1"/>
          <p:nvPr/>
        </p:nvSpPr>
        <p:spPr>
          <a:xfrm>
            <a:off x="2147002" y="324728"/>
            <a:ext cx="78979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LAC STRUCTURE</a:t>
            </a:r>
            <a:endParaRPr sz="1400" b="0" i="0" u="none" strike="noStrike" cap="none">
              <a:solidFill>
                <a:srgbClr val="000000"/>
              </a:solidFill>
              <a:latin typeface="Arial"/>
              <a:ea typeface="Arial"/>
              <a:cs typeface="Arial"/>
              <a:sym typeface="Arial"/>
            </a:endParaRPr>
          </a:p>
        </p:txBody>
      </p:sp>
      <p:cxnSp>
        <p:nvCxnSpPr>
          <p:cNvPr id="1182" name="Google Shape;1182;p18"/>
          <p:cNvCxnSpPr/>
          <p:nvPr/>
        </p:nvCxnSpPr>
        <p:spPr>
          <a:xfrm>
            <a:off x="5529618" y="907938"/>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183" name="Google Shape;1183;p18"/>
          <p:cNvSpPr txBox="1"/>
          <p:nvPr/>
        </p:nvSpPr>
        <p:spPr>
          <a:xfrm>
            <a:off x="1962150" y="967929"/>
            <a:ext cx="8267700"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The General Assembly (GA)</a:t>
            </a:r>
            <a:r>
              <a:rPr lang="en-US" sz="1200" b="0" i="0" u="none" strike="noStrike" cap="none">
                <a:solidFill>
                  <a:schemeClr val="dk1"/>
                </a:solidFill>
                <a:latin typeface="Poppins"/>
                <a:ea typeface="Poppins"/>
                <a:cs typeface="Poppins"/>
                <a:sym typeface="Poppins"/>
              </a:rPr>
              <a:t> is the primary body of ILAC and ensures that specific tasks are pursued in accordance with the objectives of ILAC.  All members of ILAC are eligible to nominate one representative.</a:t>
            </a:r>
            <a:endParaRPr sz="1400" b="0" i="0" u="none" strike="noStrike" cap="none">
              <a:solidFill>
                <a:srgbClr val="000000"/>
              </a:solidFill>
              <a:latin typeface="Arial"/>
              <a:ea typeface="Arial"/>
              <a:cs typeface="Arial"/>
              <a:sym typeface="Arial"/>
            </a:endParaRPr>
          </a:p>
        </p:txBody>
      </p:sp>
      <p:sp>
        <p:nvSpPr>
          <p:cNvPr id="1184" name="Google Shape;1184;p18"/>
          <p:cNvSpPr/>
          <p:nvPr/>
        </p:nvSpPr>
        <p:spPr>
          <a:xfrm>
            <a:off x="3453492" y="1662117"/>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85" name="Google Shape;1185;p18"/>
          <p:cNvSpPr txBox="1"/>
          <p:nvPr/>
        </p:nvSpPr>
        <p:spPr>
          <a:xfrm>
            <a:off x="3741098" y="1849794"/>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General Assembly</a:t>
            </a:r>
            <a:endParaRPr sz="1400" b="0" i="0" u="none" strike="noStrike" cap="none">
              <a:solidFill>
                <a:srgbClr val="000000"/>
              </a:solidFill>
              <a:latin typeface="Arial"/>
              <a:ea typeface="Arial"/>
              <a:cs typeface="Arial"/>
              <a:sym typeface="Arial"/>
            </a:endParaRPr>
          </a:p>
        </p:txBody>
      </p:sp>
      <p:sp>
        <p:nvSpPr>
          <p:cNvPr id="1186" name="Google Shape;1186;p18"/>
          <p:cNvSpPr/>
          <p:nvPr/>
        </p:nvSpPr>
        <p:spPr>
          <a:xfrm>
            <a:off x="6624864" y="1662117"/>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87" name="Google Shape;1187;p18"/>
          <p:cNvSpPr txBox="1"/>
          <p:nvPr/>
        </p:nvSpPr>
        <p:spPr>
          <a:xfrm>
            <a:off x="6860722" y="1849794"/>
            <a:ext cx="1641928"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rrangement Council</a:t>
            </a:r>
            <a:endParaRPr sz="1400" b="0" i="0" u="none" strike="noStrike" cap="none">
              <a:solidFill>
                <a:srgbClr val="000000"/>
              </a:solidFill>
              <a:latin typeface="Arial"/>
              <a:ea typeface="Arial"/>
              <a:cs typeface="Arial"/>
              <a:sym typeface="Arial"/>
            </a:endParaRPr>
          </a:p>
        </p:txBody>
      </p:sp>
      <p:sp>
        <p:nvSpPr>
          <p:cNvPr id="1188" name="Google Shape;1188;p18"/>
          <p:cNvSpPr/>
          <p:nvPr/>
        </p:nvSpPr>
        <p:spPr>
          <a:xfrm>
            <a:off x="1071355"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89" name="Google Shape;1189;p18"/>
          <p:cNvSpPr txBox="1"/>
          <p:nvPr/>
        </p:nvSpPr>
        <p:spPr>
          <a:xfrm>
            <a:off x="1377786" y="3061625"/>
            <a:ext cx="1538432" cy="24618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Stakeholder Forum</a:t>
            </a:r>
            <a:endParaRPr sz="1400" b="0" i="0" u="none" strike="noStrike" cap="none">
              <a:solidFill>
                <a:srgbClr val="000000"/>
              </a:solidFill>
              <a:latin typeface="Arial"/>
              <a:ea typeface="Arial"/>
              <a:cs typeface="Arial"/>
              <a:sym typeface="Arial"/>
            </a:endParaRPr>
          </a:p>
        </p:txBody>
      </p:sp>
      <p:sp>
        <p:nvSpPr>
          <p:cNvPr id="1190" name="Google Shape;1190;p18"/>
          <p:cNvSpPr/>
          <p:nvPr/>
        </p:nvSpPr>
        <p:spPr>
          <a:xfrm>
            <a:off x="3716570"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1" name="Google Shape;1191;p18"/>
          <p:cNvSpPr txBox="1"/>
          <p:nvPr/>
        </p:nvSpPr>
        <p:spPr>
          <a:xfrm>
            <a:off x="4004176" y="3061585"/>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Executive Committee</a:t>
            </a:r>
            <a:endParaRPr sz="1400" b="0" i="0" u="none" strike="noStrike" cap="none">
              <a:solidFill>
                <a:srgbClr val="000000"/>
              </a:solidFill>
              <a:latin typeface="Arial"/>
              <a:ea typeface="Arial"/>
              <a:cs typeface="Arial"/>
              <a:sym typeface="Arial"/>
            </a:endParaRPr>
          </a:p>
        </p:txBody>
      </p:sp>
      <p:sp>
        <p:nvSpPr>
          <p:cNvPr id="1192" name="Google Shape;1192;p18"/>
          <p:cNvSpPr/>
          <p:nvPr/>
        </p:nvSpPr>
        <p:spPr>
          <a:xfrm>
            <a:off x="6361785"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3" name="Google Shape;1193;p18"/>
          <p:cNvSpPr txBox="1"/>
          <p:nvPr/>
        </p:nvSpPr>
        <p:spPr>
          <a:xfrm>
            <a:off x="6649391" y="3061585"/>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Secretariat</a:t>
            </a:r>
            <a:endParaRPr sz="1400" b="0" i="0" u="none" strike="noStrike" cap="none">
              <a:solidFill>
                <a:srgbClr val="000000"/>
              </a:solidFill>
              <a:latin typeface="Arial"/>
              <a:ea typeface="Arial"/>
              <a:cs typeface="Arial"/>
              <a:sym typeface="Arial"/>
            </a:endParaRPr>
          </a:p>
        </p:txBody>
      </p:sp>
      <p:sp>
        <p:nvSpPr>
          <p:cNvPr id="1194" name="Google Shape;1194;p18"/>
          <p:cNvSpPr/>
          <p:nvPr/>
        </p:nvSpPr>
        <p:spPr>
          <a:xfrm>
            <a:off x="9007001"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5" name="Google Shape;1195;p18"/>
          <p:cNvSpPr txBox="1"/>
          <p:nvPr/>
        </p:nvSpPr>
        <p:spPr>
          <a:xfrm>
            <a:off x="9158021" y="3001815"/>
            <a:ext cx="2011680" cy="36576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rrangement Management Committee (AMC)</a:t>
            </a:r>
            <a:endParaRPr sz="1400" b="0" i="0" u="none" strike="noStrike" cap="none">
              <a:solidFill>
                <a:srgbClr val="000000"/>
              </a:solidFill>
              <a:latin typeface="Arial"/>
              <a:ea typeface="Arial"/>
              <a:cs typeface="Arial"/>
              <a:sym typeface="Arial"/>
            </a:endParaRPr>
          </a:p>
        </p:txBody>
      </p:sp>
      <p:sp>
        <p:nvSpPr>
          <p:cNvPr id="1196" name="Google Shape;1196;p18"/>
          <p:cNvSpPr/>
          <p:nvPr/>
        </p:nvSpPr>
        <p:spPr>
          <a:xfrm>
            <a:off x="6361785" y="4085699"/>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7" name="Google Shape;1197;p18"/>
          <p:cNvSpPr txBox="1"/>
          <p:nvPr/>
        </p:nvSpPr>
        <p:spPr>
          <a:xfrm>
            <a:off x="6649391" y="4196431"/>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Financial Audit Committee (FAC)</a:t>
            </a:r>
            <a:endParaRPr sz="1400" b="0" i="0" u="none" strike="noStrike" cap="none">
              <a:solidFill>
                <a:srgbClr val="000000"/>
              </a:solidFill>
              <a:latin typeface="Arial"/>
              <a:ea typeface="Arial"/>
              <a:cs typeface="Arial"/>
              <a:sym typeface="Arial"/>
            </a:endParaRPr>
          </a:p>
        </p:txBody>
      </p:sp>
      <p:sp>
        <p:nvSpPr>
          <p:cNvPr id="1198" name="Google Shape;1198;p18"/>
          <p:cNvSpPr/>
          <p:nvPr/>
        </p:nvSpPr>
        <p:spPr>
          <a:xfrm>
            <a:off x="9485175"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9" name="Google Shape;1199;p18"/>
          <p:cNvSpPr txBox="1"/>
          <p:nvPr/>
        </p:nvSpPr>
        <p:spPr>
          <a:xfrm>
            <a:off x="9772781" y="5408222"/>
            <a:ext cx="1538432" cy="400069"/>
          </a:xfrm>
          <a:prstGeom prst="rect">
            <a:avLst/>
          </a:prstGeom>
          <a:noFill/>
          <a:ln>
            <a:noFill/>
          </a:ln>
        </p:spPr>
        <p:txBody>
          <a:bodyPr spcFirstLastPara="1" wrap="square" lIns="91425" tIns="45700" rIns="91425" bIns="45700" anchor="t" anchorCtr="0">
            <a:spAutoFit/>
          </a:bodyPr>
          <a:lstStyle/>
          <a:p>
            <a:pPr algn="ctr">
              <a:buSzPts val="1000"/>
            </a:pPr>
            <a:r>
              <a:rPr lang="en-US" sz="1000">
                <a:solidFill>
                  <a:schemeClr val="dk1"/>
                </a:solidFill>
                <a:latin typeface="Poppins"/>
                <a:cs typeface="Poppins"/>
              </a:rPr>
              <a:t>Inspection Committee (IC)</a:t>
            </a:r>
            <a:endParaRPr lang="en-US" sz="1000" b="0" i="0" u="none" strike="noStrike" cap="none">
              <a:solidFill>
                <a:schemeClr val="dk1"/>
              </a:solidFill>
              <a:latin typeface="Poppins"/>
              <a:cs typeface="Poppins"/>
            </a:endParaRPr>
          </a:p>
        </p:txBody>
      </p:sp>
      <p:sp>
        <p:nvSpPr>
          <p:cNvPr id="1200" name="Google Shape;1200;p18"/>
          <p:cNvSpPr/>
          <p:nvPr/>
        </p:nvSpPr>
        <p:spPr>
          <a:xfrm>
            <a:off x="7262178"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1" name="Google Shape;1201;p18"/>
          <p:cNvSpPr txBox="1"/>
          <p:nvPr/>
        </p:nvSpPr>
        <p:spPr>
          <a:xfrm>
            <a:off x="7549784" y="5331278"/>
            <a:ext cx="1538432" cy="55399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Joint Development Support Committee (JDSC)</a:t>
            </a:r>
            <a:endParaRPr sz="1400" b="0" i="0" u="none" strike="noStrike" cap="none">
              <a:solidFill>
                <a:srgbClr val="000000"/>
              </a:solidFill>
              <a:latin typeface="Arial"/>
              <a:ea typeface="Arial"/>
              <a:cs typeface="Arial"/>
              <a:sym typeface="Arial"/>
            </a:endParaRPr>
          </a:p>
        </p:txBody>
      </p:sp>
      <p:sp>
        <p:nvSpPr>
          <p:cNvPr id="1202" name="Google Shape;1202;p18"/>
          <p:cNvSpPr/>
          <p:nvPr/>
        </p:nvSpPr>
        <p:spPr>
          <a:xfrm>
            <a:off x="5039179"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3" name="Google Shape;1203;p18"/>
          <p:cNvSpPr txBox="1"/>
          <p:nvPr/>
        </p:nvSpPr>
        <p:spPr>
          <a:xfrm>
            <a:off x="5136358" y="5331278"/>
            <a:ext cx="1919286" cy="55399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Marketing and Communications Committee (MCC)</a:t>
            </a:r>
            <a:endParaRPr sz="1400" b="0" i="0" u="none" strike="noStrike" cap="none">
              <a:solidFill>
                <a:srgbClr val="000000"/>
              </a:solidFill>
              <a:latin typeface="Arial"/>
              <a:ea typeface="Arial"/>
              <a:cs typeface="Arial"/>
              <a:sym typeface="Arial"/>
            </a:endParaRPr>
          </a:p>
        </p:txBody>
      </p:sp>
      <p:sp>
        <p:nvSpPr>
          <p:cNvPr id="1204" name="Google Shape;1204;p18"/>
          <p:cNvSpPr/>
          <p:nvPr/>
        </p:nvSpPr>
        <p:spPr>
          <a:xfrm>
            <a:off x="2816180"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5" name="Google Shape;1205;p18"/>
          <p:cNvSpPr txBox="1"/>
          <p:nvPr/>
        </p:nvSpPr>
        <p:spPr>
          <a:xfrm>
            <a:off x="3103786" y="5408222"/>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ccreditation Committee (AIC)</a:t>
            </a:r>
            <a:endParaRPr sz="1400" b="0" i="0" u="none" strike="noStrike" cap="none">
              <a:solidFill>
                <a:srgbClr val="000000"/>
              </a:solidFill>
              <a:latin typeface="Arial"/>
              <a:ea typeface="Arial"/>
              <a:cs typeface="Arial"/>
              <a:sym typeface="Arial"/>
            </a:endParaRPr>
          </a:p>
        </p:txBody>
      </p:sp>
      <p:sp>
        <p:nvSpPr>
          <p:cNvPr id="1206" name="Google Shape;1206;p18"/>
          <p:cNvSpPr/>
          <p:nvPr/>
        </p:nvSpPr>
        <p:spPr>
          <a:xfrm>
            <a:off x="593181"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7" name="Google Shape;1207;p18"/>
          <p:cNvSpPr txBox="1"/>
          <p:nvPr/>
        </p:nvSpPr>
        <p:spPr>
          <a:xfrm>
            <a:off x="880787" y="5408222"/>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rrangement Committee (ARC)</a:t>
            </a:r>
            <a:endParaRPr sz="1400" b="0" i="0" u="none" strike="noStrike" cap="none">
              <a:solidFill>
                <a:srgbClr val="000000"/>
              </a:solidFill>
              <a:latin typeface="Arial"/>
              <a:ea typeface="Arial"/>
              <a:cs typeface="Arial"/>
              <a:sym typeface="Arial"/>
            </a:endParaRPr>
          </a:p>
        </p:txBody>
      </p:sp>
      <p:cxnSp>
        <p:nvCxnSpPr>
          <p:cNvPr id="1208" name="Google Shape;1208;p18"/>
          <p:cNvCxnSpPr>
            <a:stCxn id="1194" idx="0"/>
            <a:endCxn id="1186" idx="3"/>
          </p:cNvCxnSpPr>
          <p:nvPr/>
        </p:nvCxnSpPr>
        <p:spPr>
          <a:xfrm rot="5400000" flipH="1">
            <a:off x="8950673" y="1760758"/>
            <a:ext cx="900900" cy="1325400"/>
          </a:xfrm>
          <a:prstGeom prst="bentConnector2">
            <a:avLst/>
          </a:prstGeom>
          <a:noFill/>
          <a:ln w="9525" cap="flat" cmpd="sng">
            <a:solidFill>
              <a:schemeClr val="accent1"/>
            </a:solidFill>
            <a:prstDash val="solid"/>
            <a:miter lim="800000"/>
            <a:headEnd type="none" w="sm" len="sm"/>
            <a:tailEnd type="none" w="sm" len="sm"/>
          </a:ln>
        </p:spPr>
      </p:cxnSp>
      <p:cxnSp>
        <p:nvCxnSpPr>
          <p:cNvPr id="1209" name="Google Shape;1209;p18"/>
          <p:cNvCxnSpPr>
            <a:stCxn id="1184" idx="3"/>
            <a:endCxn id="1186" idx="1"/>
          </p:cNvCxnSpPr>
          <p:nvPr/>
        </p:nvCxnSpPr>
        <p:spPr>
          <a:xfrm>
            <a:off x="5567136" y="1972904"/>
            <a:ext cx="1057800" cy="0"/>
          </a:xfrm>
          <a:prstGeom prst="straightConnector1">
            <a:avLst/>
          </a:prstGeom>
          <a:noFill/>
          <a:ln w="9525" cap="flat" cmpd="sng">
            <a:solidFill>
              <a:schemeClr val="accent1"/>
            </a:solidFill>
            <a:prstDash val="solid"/>
            <a:miter lim="800000"/>
            <a:headEnd type="none" w="sm" len="sm"/>
            <a:tailEnd type="none" w="sm" len="sm"/>
          </a:ln>
        </p:spPr>
      </p:cxnSp>
      <p:cxnSp>
        <p:nvCxnSpPr>
          <p:cNvPr id="1210" name="Google Shape;1210;p18"/>
          <p:cNvCxnSpPr>
            <a:stCxn id="1190" idx="0"/>
            <a:endCxn id="1184" idx="2"/>
          </p:cNvCxnSpPr>
          <p:nvPr/>
        </p:nvCxnSpPr>
        <p:spPr>
          <a:xfrm rot="5400000" flipH="1">
            <a:off x="4346792" y="2447308"/>
            <a:ext cx="590100" cy="263100"/>
          </a:xfrm>
          <a:prstGeom prst="bentConnector3">
            <a:avLst>
              <a:gd name="adj1" fmla="val 50000"/>
            </a:avLst>
          </a:prstGeom>
          <a:noFill/>
          <a:ln w="9525" cap="flat" cmpd="sng">
            <a:solidFill>
              <a:schemeClr val="accent1"/>
            </a:solidFill>
            <a:prstDash val="solid"/>
            <a:miter lim="800000"/>
            <a:headEnd type="none" w="sm" len="sm"/>
            <a:tailEnd type="none" w="sm" len="sm"/>
          </a:ln>
        </p:spPr>
      </p:cxnSp>
      <p:cxnSp>
        <p:nvCxnSpPr>
          <p:cNvPr id="1211" name="Google Shape;1211;p18"/>
          <p:cNvCxnSpPr>
            <a:stCxn id="1206" idx="0"/>
          </p:cNvCxnSpPr>
          <p:nvPr/>
        </p:nvCxnSpPr>
        <p:spPr>
          <a:xfrm rot="10800000">
            <a:off x="1650003" y="5010990"/>
            <a:ext cx="0" cy="286500"/>
          </a:xfrm>
          <a:prstGeom prst="straightConnector1">
            <a:avLst/>
          </a:prstGeom>
          <a:noFill/>
          <a:ln w="9525" cap="flat" cmpd="sng">
            <a:solidFill>
              <a:schemeClr val="accent1"/>
            </a:solidFill>
            <a:prstDash val="solid"/>
            <a:miter lim="800000"/>
            <a:headEnd type="none" w="sm" len="sm"/>
            <a:tailEnd type="none" w="sm" len="sm"/>
          </a:ln>
        </p:spPr>
      </p:cxnSp>
      <p:cxnSp>
        <p:nvCxnSpPr>
          <p:cNvPr id="1212" name="Google Shape;1212;p18"/>
          <p:cNvCxnSpPr/>
          <p:nvPr/>
        </p:nvCxnSpPr>
        <p:spPr>
          <a:xfrm rot="10800000">
            <a:off x="3873002"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3" name="Google Shape;1213;p18"/>
          <p:cNvCxnSpPr/>
          <p:nvPr/>
        </p:nvCxnSpPr>
        <p:spPr>
          <a:xfrm rot="10800000">
            <a:off x="6096000"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4" name="Google Shape;1214;p18"/>
          <p:cNvCxnSpPr/>
          <p:nvPr/>
        </p:nvCxnSpPr>
        <p:spPr>
          <a:xfrm rot="10800000">
            <a:off x="8319000"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5" name="Google Shape;1215;p18"/>
          <p:cNvCxnSpPr/>
          <p:nvPr/>
        </p:nvCxnSpPr>
        <p:spPr>
          <a:xfrm rot="10800000">
            <a:off x="10541997"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6" name="Google Shape;1216;p18"/>
          <p:cNvCxnSpPr/>
          <p:nvPr/>
        </p:nvCxnSpPr>
        <p:spPr>
          <a:xfrm>
            <a:off x="1650003" y="5011028"/>
            <a:ext cx="8891994" cy="0"/>
          </a:xfrm>
          <a:prstGeom prst="straightConnector1">
            <a:avLst/>
          </a:prstGeom>
          <a:noFill/>
          <a:ln w="9525" cap="flat" cmpd="sng">
            <a:solidFill>
              <a:schemeClr val="accent1"/>
            </a:solidFill>
            <a:prstDash val="solid"/>
            <a:miter lim="800000"/>
            <a:headEnd type="none" w="sm" len="sm"/>
            <a:tailEnd type="none" w="sm" len="sm"/>
          </a:ln>
        </p:spPr>
      </p:cxnSp>
      <p:cxnSp>
        <p:nvCxnSpPr>
          <p:cNvPr id="1217" name="Google Shape;1217;p18"/>
          <p:cNvCxnSpPr>
            <a:stCxn id="1190" idx="3"/>
            <a:endCxn id="1192" idx="1"/>
          </p:cNvCxnSpPr>
          <p:nvPr/>
        </p:nvCxnSpPr>
        <p:spPr>
          <a:xfrm>
            <a:off x="5830214" y="3184695"/>
            <a:ext cx="531600" cy="0"/>
          </a:xfrm>
          <a:prstGeom prst="straightConnector1">
            <a:avLst/>
          </a:prstGeom>
          <a:noFill/>
          <a:ln w="9525" cap="flat" cmpd="sng">
            <a:solidFill>
              <a:schemeClr val="accent1"/>
            </a:solidFill>
            <a:prstDash val="solid"/>
            <a:miter lim="800000"/>
            <a:headEnd type="none" w="sm" len="sm"/>
            <a:tailEnd type="none" w="sm" len="sm"/>
          </a:ln>
        </p:spPr>
      </p:cxnSp>
      <p:cxnSp>
        <p:nvCxnSpPr>
          <p:cNvPr id="1218" name="Google Shape;1218;p18"/>
          <p:cNvCxnSpPr>
            <a:stCxn id="1188" idx="3"/>
            <a:endCxn id="1190" idx="1"/>
          </p:cNvCxnSpPr>
          <p:nvPr/>
        </p:nvCxnSpPr>
        <p:spPr>
          <a:xfrm>
            <a:off x="3184999" y="3184695"/>
            <a:ext cx="531600" cy="0"/>
          </a:xfrm>
          <a:prstGeom prst="straightConnector1">
            <a:avLst/>
          </a:prstGeom>
          <a:noFill/>
          <a:ln w="9525" cap="flat" cmpd="sng">
            <a:solidFill>
              <a:schemeClr val="accent1"/>
            </a:solidFill>
            <a:prstDash val="solid"/>
            <a:miter lim="800000"/>
            <a:headEnd type="none" w="sm" len="sm"/>
            <a:tailEnd type="none" w="sm" len="sm"/>
          </a:ln>
        </p:spPr>
      </p:cxnSp>
      <p:cxnSp>
        <p:nvCxnSpPr>
          <p:cNvPr id="1219" name="Google Shape;1219;p18"/>
          <p:cNvCxnSpPr>
            <a:stCxn id="1190" idx="2"/>
          </p:cNvCxnSpPr>
          <p:nvPr/>
        </p:nvCxnSpPr>
        <p:spPr>
          <a:xfrm>
            <a:off x="4773392" y="3495482"/>
            <a:ext cx="0" cy="1515600"/>
          </a:xfrm>
          <a:prstGeom prst="straightConnector1">
            <a:avLst/>
          </a:prstGeom>
          <a:noFill/>
          <a:ln w="9525" cap="flat" cmpd="sng">
            <a:solidFill>
              <a:schemeClr val="accent1"/>
            </a:solidFill>
            <a:prstDash val="solid"/>
            <a:miter lim="800000"/>
            <a:headEnd type="none" w="sm" len="sm"/>
            <a:tailEnd type="none" w="sm" len="sm"/>
          </a:ln>
        </p:spPr>
      </p:cxnSp>
      <p:cxnSp>
        <p:nvCxnSpPr>
          <p:cNvPr id="1220" name="Google Shape;1220;p18"/>
          <p:cNvCxnSpPr>
            <a:stCxn id="1196" idx="1"/>
          </p:cNvCxnSpPr>
          <p:nvPr/>
        </p:nvCxnSpPr>
        <p:spPr>
          <a:xfrm rot="10800000">
            <a:off x="4773285" y="4396486"/>
            <a:ext cx="1588500" cy="0"/>
          </a:xfrm>
          <a:prstGeom prst="straightConnector1">
            <a:avLst/>
          </a:prstGeom>
          <a:noFill/>
          <a:ln w="9525" cap="flat" cmpd="sng">
            <a:solidFill>
              <a:schemeClr val="accent1"/>
            </a:solidFill>
            <a:prstDash val="solid"/>
            <a:miter lim="800000"/>
            <a:headEnd type="none" w="sm" len="sm"/>
            <a:tailEnd type="none" w="sm" len="sm"/>
          </a:ln>
        </p:spPr>
      </p:cxnSp>
      <p:sp>
        <p:nvSpPr>
          <p:cNvPr id="1221" name="Google Shape;1221;p18"/>
          <p:cNvSpPr txBox="1"/>
          <p:nvPr/>
        </p:nvSpPr>
        <p:spPr>
          <a:xfrm>
            <a:off x="1358961" y="2363066"/>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Poppins"/>
                <a:ea typeface="Poppins"/>
                <a:cs typeface="Poppins"/>
                <a:sym typeface="Poppins"/>
              </a:rPr>
              <a:t>Advisory Committees</a:t>
            </a:r>
            <a:endParaRPr sz="1400" b="0" i="0" u="none" strike="noStrike" cap="none">
              <a:solidFill>
                <a:srgbClr val="000000"/>
              </a:solidFill>
              <a:latin typeface="Arial"/>
              <a:ea typeface="Arial"/>
              <a:cs typeface="Arial"/>
              <a:sym typeface="Arial"/>
            </a:endParaRPr>
          </a:p>
        </p:txBody>
      </p:sp>
      <p:sp>
        <p:nvSpPr>
          <p:cNvPr id="1222" name="Google Shape;1222;p18"/>
          <p:cNvSpPr txBox="1"/>
          <p:nvPr/>
        </p:nvSpPr>
        <p:spPr>
          <a:xfrm>
            <a:off x="4145128" y="6071723"/>
            <a:ext cx="3901744" cy="21544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US" sz="800" b="0" i="0" u="none" strike="noStrike" cap="none">
                <a:solidFill>
                  <a:srgbClr val="7F7F7F"/>
                </a:solidFill>
                <a:latin typeface="Poppins"/>
                <a:ea typeface="Poppins"/>
                <a:cs typeface="Poppins"/>
                <a:sym typeface="Poppins"/>
              </a:rPr>
              <a:t>ILAC organization chart as at March 2015</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227"/>
        <p:cNvGrpSpPr/>
        <p:nvPr/>
      </p:nvGrpSpPr>
      <p:grpSpPr>
        <a:xfrm>
          <a:off x="0" y="0"/>
          <a:ext cx="0" cy="0"/>
          <a:chOff x="0" y="0"/>
          <a:chExt cx="0" cy="0"/>
        </a:xfrm>
      </p:grpSpPr>
      <p:pic>
        <p:nvPicPr>
          <p:cNvPr id="1228" name="Google Shape;1228;p19" descr="A group of people sitting around a table&#10;&#10;Description automatically generated with medium confidence"/>
          <p:cNvPicPr preferRelativeResize="0">
            <a:picLocks noGrp="1"/>
          </p:cNvPicPr>
          <p:nvPr>
            <p:ph type="pic" idx="2"/>
          </p:nvPr>
        </p:nvPicPr>
        <p:blipFill rotWithShape="1">
          <a:blip r:embed="rId3">
            <a:alphaModFix/>
          </a:blip>
          <a:srcRect t="28904" b="28904"/>
          <a:stretch/>
        </p:blipFill>
        <p:spPr>
          <a:xfrm>
            <a:off x="0" y="0"/>
            <a:ext cx="12192000" cy="3429000"/>
          </a:xfrm>
          <a:prstGeom prst="rect">
            <a:avLst/>
          </a:prstGeom>
          <a:noFill/>
          <a:ln>
            <a:noFill/>
          </a:ln>
        </p:spPr>
      </p:pic>
      <p:sp>
        <p:nvSpPr>
          <p:cNvPr id="1229" name="Google Shape;1229;p19"/>
          <p:cNvSpPr/>
          <p:nvPr/>
        </p:nvSpPr>
        <p:spPr>
          <a:xfrm>
            <a:off x="0" y="0"/>
            <a:ext cx="12192000" cy="3429000"/>
          </a:xfrm>
          <a:prstGeom prst="rect">
            <a:avLst/>
          </a:prstGeom>
          <a:solidFill>
            <a:schemeClr val="dk1">
              <a:alpha val="69411"/>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0" name="Google Shape;1230;p19"/>
          <p:cNvSpPr txBox="1"/>
          <p:nvPr/>
        </p:nvSpPr>
        <p:spPr>
          <a:xfrm>
            <a:off x="3568505" y="615013"/>
            <a:ext cx="505499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lt1"/>
                </a:solidFill>
                <a:latin typeface="Montserrat"/>
                <a:ea typeface="Montserrat"/>
                <a:cs typeface="Montserrat"/>
                <a:sym typeface="Montserrat"/>
              </a:rPr>
              <a:t>ILAC COMMITTEES</a:t>
            </a:r>
            <a:endParaRPr sz="1400" b="0" i="0" u="none" strike="noStrike" cap="none">
              <a:solidFill>
                <a:srgbClr val="000000"/>
              </a:solidFill>
              <a:latin typeface="Arial"/>
              <a:ea typeface="Arial"/>
              <a:cs typeface="Arial"/>
              <a:sym typeface="Arial"/>
            </a:endParaRPr>
          </a:p>
        </p:txBody>
      </p:sp>
      <p:cxnSp>
        <p:nvCxnSpPr>
          <p:cNvPr id="1231" name="Google Shape;1231;p19"/>
          <p:cNvCxnSpPr/>
          <p:nvPr/>
        </p:nvCxnSpPr>
        <p:spPr>
          <a:xfrm>
            <a:off x="5529618" y="1198223"/>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232" name="Google Shape;1232;p19"/>
          <p:cNvSpPr/>
          <p:nvPr/>
        </p:nvSpPr>
        <p:spPr>
          <a:xfrm>
            <a:off x="9010648"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3" name="Google Shape;1233;p19"/>
          <p:cNvSpPr/>
          <p:nvPr/>
        </p:nvSpPr>
        <p:spPr>
          <a:xfrm>
            <a:off x="381001"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4" name="Google Shape;1234;p19"/>
          <p:cNvSpPr/>
          <p:nvPr/>
        </p:nvSpPr>
        <p:spPr>
          <a:xfrm>
            <a:off x="3257550"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5" name="Google Shape;1235;p19"/>
          <p:cNvSpPr/>
          <p:nvPr/>
        </p:nvSpPr>
        <p:spPr>
          <a:xfrm>
            <a:off x="6134099"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6" name="Google Shape;1236;p19"/>
          <p:cNvSpPr txBox="1"/>
          <p:nvPr/>
        </p:nvSpPr>
        <p:spPr>
          <a:xfrm>
            <a:off x="501982" y="3128075"/>
            <a:ext cx="2546508"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rrangement Council </a:t>
            </a:r>
            <a:endParaRPr sz="1400" b="0" i="0" u="none" strike="noStrike" cap="none">
              <a:solidFill>
                <a:srgbClr val="000000"/>
              </a:solidFill>
              <a:latin typeface="Arial"/>
              <a:ea typeface="Arial"/>
              <a:cs typeface="Arial"/>
              <a:sym typeface="Arial"/>
            </a:endParaRPr>
          </a:p>
        </p:txBody>
      </p:sp>
      <p:sp>
        <p:nvSpPr>
          <p:cNvPr id="1237" name="Google Shape;1237;p19"/>
          <p:cNvSpPr txBox="1"/>
          <p:nvPr/>
        </p:nvSpPr>
        <p:spPr>
          <a:xfrm>
            <a:off x="501982" y="3651295"/>
            <a:ext cx="2546508" cy="138499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rrangement Council - is the decision making body for determining signatory and recognition status under the ILAC MRA. The members are delegates nominated by the Full and Associate members. </a:t>
            </a:r>
            <a:endParaRPr sz="1400" b="0" i="0" u="none" strike="noStrike" cap="none">
              <a:solidFill>
                <a:srgbClr val="000000"/>
              </a:solidFill>
              <a:latin typeface="Arial"/>
              <a:ea typeface="Arial"/>
              <a:cs typeface="Arial"/>
              <a:sym typeface="Arial"/>
            </a:endParaRPr>
          </a:p>
        </p:txBody>
      </p:sp>
      <p:sp>
        <p:nvSpPr>
          <p:cNvPr id="1238" name="Google Shape;1238;p19"/>
          <p:cNvSpPr txBox="1"/>
          <p:nvPr/>
        </p:nvSpPr>
        <p:spPr>
          <a:xfrm>
            <a:off x="3257550"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rrangement Management Committee (AMC)</a:t>
            </a:r>
            <a:endParaRPr sz="1400" b="0" i="0" u="none" strike="noStrike" cap="none">
              <a:solidFill>
                <a:srgbClr val="000000"/>
              </a:solidFill>
              <a:latin typeface="Arial"/>
              <a:ea typeface="Arial"/>
              <a:cs typeface="Arial"/>
              <a:sym typeface="Arial"/>
            </a:endParaRPr>
          </a:p>
        </p:txBody>
      </p:sp>
      <p:sp>
        <p:nvSpPr>
          <p:cNvPr id="1239" name="Google Shape;1239;p19"/>
          <p:cNvSpPr txBox="1"/>
          <p:nvPr/>
        </p:nvSpPr>
        <p:spPr>
          <a:xfrm>
            <a:off x="3384471" y="3628514"/>
            <a:ext cx="2546508" cy="175432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Arrangement Management Committee (AMC) - is responsible for the day-to-day management activities of the ILAC MRA on behalf of the Arrangement Council and provides advice on its further development and operation. </a:t>
            </a:r>
            <a:endParaRPr sz="1400" b="0" i="0" u="none" strike="noStrike" cap="none">
              <a:solidFill>
                <a:srgbClr val="000000"/>
              </a:solidFill>
              <a:latin typeface="Arial"/>
              <a:ea typeface="Arial"/>
              <a:cs typeface="Arial"/>
              <a:sym typeface="Arial"/>
            </a:endParaRPr>
          </a:p>
        </p:txBody>
      </p:sp>
      <p:sp>
        <p:nvSpPr>
          <p:cNvPr id="1240" name="Google Shape;1240;p19"/>
          <p:cNvSpPr txBox="1"/>
          <p:nvPr/>
        </p:nvSpPr>
        <p:spPr>
          <a:xfrm>
            <a:off x="6222921" y="3628514"/>
            <a:ext cx="2546508"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harmonized implementation and continual improvement of the ILAC Arrangement</a:t>
            </a:r>
            <a:endParaRPr sz="1400" b="0" i="0" u="none" strike="noStrike" cap="none">
              <a:solidFill>
                <a:srgbClr val="000000"/>
              </a:solidFill>
              <a:latin typeface="Arial"/>
              <a:ea typeface="Arial"/>
              <a:cs typeface="Arial"/>
              <a:sym typeface="Arial"/>
            </a:endParaRPr>
          </a:p>
        </p:txBody>
      </p:sp>
      <p:sp>
        <p:nvSpPr>
          <p:cNvPr id="1241" name="Google Shape;1241;p19"/>
          <p:cNvSpPr txBox="1"/>
          <p:nvPr/>
        </p:nvSpPr>
        <p:spPr>
          <a:xfrm>
            <a:off x="6096000"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rrangement Committee (ARC)</a:t>
            </a:r>
            <a:endParaRPr sz="1400" b="0" i="0" u="none" strike="noStrike" cap="none">
              <a:solidFill>
                <a:srgbClr val="000000"/>
              </a:solidFill>
              <a:latin typeface="Arial"/>
              <a:ea typeface="Arial"/>
              <a:cs typeface="Arial"/>
              <a:sym typeface="Arial"/>
            </a:endParaRPr>
          </a:p>
        </p:txBody>
      </p:sp>
      <p:pic>
        <p:nvPicPr>
          <p:cNvPr id="1242" name="Google Shape;1242;p19"/>
          <p:cNvPicPr preferRelativeResize="0"/>
          <p:nvPr/>
        </p:nvPicPr>
        <p:blipFill rotWithShape="1">
          <a:blip r:embed="rId4">
            <a:alphaModFix/>
          </a:blip>
          <a:srcRect/>
          <a:stretch/>
        </p:blipFill>
        <p:spPr>
          <a:xfrm>
            <a:off x="1502055" y="2210616"/>
            <a:ext cx="546363" cy="548640"/>
          </a:xfrm>
          <a:prstGeom prst="rect">
            <a:avLst/>
          </a:prstGeom>
          <a:noFill/>
          <a:ln>
            <a:noFill/>
          </a:ln>
        </p:spPr>
      </p:pic>
      <p:pic>
        <p:nvPicPr>
          <p:cNvPr id="1243" name="Google Shape;1243;p19"/>
          <p:cNvPicPr preferRelativeResize="0"/>
          <p:nvPr/>
        </p:nvPicPr>
        <p:blipFill rotWithShape="1">
          <a:blip r:embed="rId5">
            <a:alphaModFix/>
          </a:blip>
          <a:srcRect/>
          <a:stretch/>
        </p:blipFill>
        <p:spPr>
          <a:xfrm>
            <a:off x="4383405" y="2210616"/>
            <a:ext cx="548640" cy="548640"/>
          </a:xfrm>
          <a:prstGeom prst="rect">
            <a:avLst/>
          </a:prstGeom>
          <a:noFill/>
          <a:ln>
            <a:noFill/>
          </a:ln>
        </p:spPr>
      </p:pic>
      <p:pic>
        <p:nvPicPr>
          <p:cNvPr id="1244" name="Google Shape;1244;p19"/>
          <p:cNvPicPr preferRelativeResize="0"/>
          <p:nvPr/>
        </p:nvPicPr>
        <p:blipFill rotWithShape="1">
          <a:blip r:embed="rId6">
            <a:alphaModFix/>
          </a:blip>
          <a:srcRect/>
          <a:stretch/>
        </p:blipFill>
        <p:spPr>
          <a:xfrm>
            <a:off x="7259954" y="2210616"/>
            <a:ext cx="548640" cy="548640"/>
          </a:xfrm>
          <a:prstGeom prst="rect">
            <a:avLst/>
          </a:prstGeom>
          <a:noFill/>
          <a:ln>
            <a:noFill/>
          </a:ln>
        </p:spPr>
      </p:pic>
      <p:pic>
        <p:nvPicPr>
          <p:cNvPr id="1245" name="Google Shape;1245;p19"/>
          <p:cNvPicPr preferRelativeResize="0"/>
          <p:nvPr/>
        </p:nvPicPr>
        <p:blipFill rotWithShape="1">
          <a:blip r:embed="rId7">
            <a:alphaModFix/>
          </a:blip>
          <a:srcRect/>
          <a:stretch/>
        </p:blipFill>
        <p:spPr>
          <a:xfrm>
            <a:off x="10063170" y="2210616"/>
            <a:ext cx="695306" cy="548640"/>
          </a:xfrm>
          <a:prstGeom prst="rect">
            <a:avLst/>
          </a:prstGeom>
          <a:noFill/>
          <a:ln>
            <a:noFill/>
          </a:ln>
        </p:spPr>
      </p:pic>
      <p:sp>
        <p:nvSpPr>
          <p:cNvPr id="1246" name="Google Shape;1246;p19"/>
          <p:cNvSpPr txBox="1"/>
          <p:nvPr/>
        </p:nvSpPr>
        <p:spPr>
          <a:xfrm>
            <a:off x="9137569" y="3628514"/>
            <a:ext cx="2546508"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harmonisation and improvement of accreditation practice at the international level. </a:t>
            </a:r>
            <a:endParaRPr sz="1400" b="0" i="0" u="none" strike="noStrike" cap="none">
              <a:solidFill>
                <a:srgbClr val="000000"/>
              </a:solidFill>
              <a:latin typeface="Arial"/>
              <a:ea typeface="Arial"/>
              <a:cs typeface="Arial"/>
              <a:sym typeface="Arial"/>
            </a:endParaRPr>
          </a:p>
        </p:txBody>
      </p:sp>
      <p:sp>
        <p:nvSpPr>
          <p:cNvPr id="1247" name="Google Shape;1247;p19"/>
          <p:cNvSpPr txBox="1"/>
          <p:nvPr/>
        </p:nvSpPr>
        <p:spPr>
          <a:xfrm>
            <a:off x="9010648"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ccreditation Committee (AIC)</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252"/>
        <p:cNvGrpSpPr/>
        <p:nvPr/>
      </p:nvGrpSpPr>
      <p:grpSpPr>
        <a:xfrm>
          <a:off x="0" y="0"/>
          <a:ext cx="0" cy="0"/>
          <a:chOff x="0" y="0"/>
          <a:chExt cx="0" cy="0"/>
        </a:xfrm>
      </p:grpSpPr>
      <p:pic>
        <p:nvPicPr>
          <p:cNvPr id="1253" name="Google Shape;1253;p20" descr="A group of people sitting around a table&#10;&#10;Description automatically generated with medium confidence"/>
          <p:cNvPicPr preferRelativeResize="0">
            <a:picLocks noGrp="1"/>
          </p:cNvPicPr>
          <p:nvPr>
            <p:ph type="pic" idx="2"/>
          </p:nvPr>
        </p:nvPicPr>
        <p:blipFill rotWithShape="1">
          <a:blip r:embed="rId3">
            <a:alphaModFix/>
          </a:blip>
          <a:srcRect t="28904" b="28904"/>
          <a:stretch/>
        </p:blipFill>
        <p:spPr>
          <a:xfrm>
            <a:off x="0" y="0"/>
            <a:ext cx="12192000" cy="3429000"/>
          </a:xfrm>
          <a:prstGeom prst="rect">
            <a:avLst/>
          </a:prstGeom>
          <a:noFill/>
          <a:ln>
            <a:noFill/>
          </a:ln>
        </p:spPr>
      </p:pic>
      <p:sp>
        <p:nvSpPr>
          <p:cNvPr id="1254" name="Google Shape;1254;p20"/>
          <p:cNvSpPr/>
          <p:nvPr/>
        </p:nvSpPr>
        <p:spPr>
          <a:xfrm>
            <a:off x="0" y="0"/>
            <a:ext cx="12192000" cy="3429000"/>
          </a:xfrm>
          <a:prstGeom prst="rect">
            <a:avLst/>
          </a:prstGeom>
          <a:solidFill>
            <a:schemeClr val="dk1">
              <a:alpha val="69411"/>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55" name="Google Shape;1255;p20"/>
          <p:cNvSpPr txBox="1"/>
          <p:nvPr/>
        </p:nvSpPr>
        <p:spPr>
          <a:xfrm>
            <a:off x="3568505" y="615013"/>
            <a:ext cx="505499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lt1"/>
                </a:solidFill>
                <a:latin typeface="Montserrat"/>
                <a:ea typeface="Montserrat"/>
                <a:cs typeface="Montserrat"/>
                <a:sym typeface="Montserrat"/>
              </a:rPr>
              <a:t>ILAC COMMITTEES</a:t>
            </a:r>
            <a:endParaRPr sz="1400" b="0" i="0" u="none" strike="noStrike" cap="none">
              <a:solidFill>
                <a:srgbClr val="000000"/>
              </a:solidFill>
              <a:latin typeface="Arial"/>
              <a:ea typeface="Arial"/>
              <a:cs typeface="Arial"/>
              <a:sym typeface="Arial"/>
            </a:endParaRPr>
          </a:p>
        </p:txBody>
      </p:sp>
      <p:cxnSp>
        <p:nvCxnSpPr>
          <p:cNvPr id="1256" name="Google Shape;1256;p20"/>
          <p:cNvCxnSpPr/>
          <p:nvPr/>
        </p:nvCxnSpPr>
        <p:spPr>
          <a:xfrm>
            <a:off x="5529618" y="1198223"/>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257" name="Google Shape;1257;p20"/>
          <p:cNvSpPr/>
          <p:nvPr/>
        </p:nvSpPr>
        <p:spPr>
          <a:xfrm>
            <a:off x="9010648" y="1903817"/>
            <a:ext cx="2800351" cy="4201410"/>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58" name="Google Shape;1258;p20"/>
          <p:cNvSpPr/>
          <p:nvPr/>
        </p:nvSpPr>
        <p:spPr>
          <a:xfrm>
            <a:off x="381001" y="1903816"/>
            <a:ext cx="2800351" cy="4201419"/>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59" name="Google Shape;1259;p20"/>
          <p:cNvSpPr/>
          <p:nvPr/>
        </p:nvSpPr>
        <p:spPr>
          <a:xfrm>
            <a:off x="3257550" y="1903816"/>
            <a:ext cx="2800351" cy="4201415"/>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60" name="Google Shape;1260;p20"/>
          <p:cNvSpPr/>
          <p:nvPr/>
        </p:nvSpPr>
        <p:spPr>
          <a:xfrm>
            <a:off x="6134099" y="1903816"/>
            <a:ext cx="2800351" cy="4201411"/>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61" name="Google Shape;1261;p20"/>
          <p:cNvSpPr txBox="1"/>
          <p:nvPr/>
        </p:nvSpPr>
        <p:spPr>
          <a:xfrm>
            <a:off x="507922" y="3128075"/>
            <a:ext cx="2546508"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nspection Committee (IC) </a:t>
            </a:r>
            <a:endParaRPr sz="1400" b="0" i="0" u="none" strike="noStrike" cap="none">
              <a:solidFill>
                <a:srgbClr val="000000"/>
              </a:solidFill>
              <a:latin typeface="Arial"/>
              <a:ea typeface="Arial"/>
              <a:cs typeface="Arial"/>
              <a:sym typeface="Arial"/>
            </a:endParaRPr>
          </a:p>
        </p:txBody>
      </p:sp>
      <p:sp>
        <p:nvSpPr>
          <p:cNvPr id="1262" name="Google Shape;1262;p20"/>
          <p:cNvSpPr txBox="1"/>
          <p:nvPr/>
        </p:nvSpPr>
        <p:spPr>
          <a:xfrm>
            <a:off x="507922" y="3866739"/>
            <a:ext cx="2546508" cy="120032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the harmonisation and improvement of accreditation practices for inspection activities at the international level. </a:t>
            </a:r>
            <a:endParaRPr sz="1400" b="0" i="0" u="none" strike="noStrike" cap="none">
              <a:solidFill>
                <a:srgbClr val="000000"/>
              </a:solidFill>
              <a:latin typeface="Arial"/>
              <a:ea typeface="Arial"/>
              <a:cs typeface="Arial"/>
              <a:sym typeface="Arial"/>
            </a:endParaRPr>
          </a:p>
        </p:txBody>
      </p:sp>
      <p:sp>
        <p:nvSpPr>
          <p:cNvPr id="1263" name="Google Shape;1263;p20"/>
          <p:cNvSpPr txBox="1"/>
          <p:nvPr/>
        </p:nvSpPr>
        <p:spPr>
          <a:xfrm>
            <a:off x="3384471" y="3128075"/>
            <a:ext cx="2546508" cy="7386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Marketing and Communications Committee (MCC)</a:t>
            </a:r>
            <a:endParaRPr sz="1400" b="0" i="0" u="none" strike="noStrike" cap="none">
              <a:solidFill>
                <a:srgbClr val="000000"/>
              </a:solidFill>
              <a:latin typeface="Arial"/>
              <a:ea typeface="Arial"/>
              <a:cs typeface="Arial"/>
              <a:sym typeface="Arial"/>
            </a:endParaRPr>
          </a:p>
        </p:txBody>
      </p:sp>
      <p:sp>
        <p:nvSpPr>
          <p:cNvPr id="1264" name="Google Shape;1264;p20"/>
          <p:cNvSpPr txBox="1"/>
          <p:nvPr/>
        </p:nvSpPr>
        <p:spPr>
          <a:xfrm>
            <a:off x="3384471" y="3866739"/>
            <a:ext cx="2546508" cy="212361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internal and external marketing and communication issues. It is involved with the promotion of ILAC's objectives, and the publication of ILAC documents, newsletters and other information. This committee operates in conjunction with the IAF Communications and Marketing Committee.</a:t>
            </a:r>
            <a:endParaRPr sz="1200" b="0" i="0" u="none" strike="noStrike" cap="none">
              <a:solidFill>
                <a:schemeClr val="dk1"/>
              </a:solidFill>
              <a:latin typeface="Poppins"/>
              <a:ea typeface="Poppins"/>
              <a:cs typeface="Poppins"/>
              <a:sym typeface="Poppins"/>
            </a:endParaRPr>
          </a:p>
        </p:txBody>
      </p:sp>
      <p:sp>
        <p:nvSpPr>
          <p:cNvPr id="1265" name="Google Shape;1265;p20"/>
          <p:cNvSpPr txBox="1"/>
          <p:nvPr/>
        </p:nvSpPr>
        <p:spPr>
          <a:xfrm>
            <a:off x="6109519" y="3128075"/>
            <a:ext cx="2824931" cy="523180"/>
          </a:xfrm>
          <a:prstGeom prst="rect">
            <a:avLst/>
          </a:prstGeom>
          <a:noFill/>
          <a:ln>
            <a:noFill/>
          </a:ln>
        </p:spPr>
        <p:txBody>
          <a:bodyPr spcFirstLastPara="1" wrap="square" lIns="91425" tIns="45700" rIns="91425" bIns="45700" anchor="t" anchorCtr="0">
            <a:spAutoFit/>
          </a:bodyPr>
          <a:lstStyle/>
          <a:p>
            <a:pPr algn="ctr">
              <a:buSzPts val="1400"/>
            </a:pPr>
            <a:r>
              <a:rPr lang="en-US" b="1" i="0" u="none" strike="noStrike" cap="none">
                <a:solidFill>
                  <a:schemeClr val="dk1"/>
                </a:solidFill>
                <a:latin typeface="Poppins"/>
                <a:ea typeface="Poppins"/>
                <a:cs typeface="Poppins"/>
                <a:sym typeface="Poppins"/>
              </a:rPr>
              <a:t>Stakeholder Forum</a:t>
            </a:r>
            <a:r>
              <a:rPr lang="en-US" b="1">
                <a:solidFill>
                  <a:schemeClr val="dk1"/>
                </a:solidFill>
                <a:latin typeface="Poppins"/>
                <a:ea typeface="Poppins"/>
                <a:cs typeface="Poppins"/>
                <a:sym typeface="Poppins"/>
              </a:rPr>
              <a:t> </a:t>
            </a:r>
            <a:endParaRPr lang="en-US">
              <a:solidFill>
                <a:schemeClr val="dk1"/>
              </a:solidFill>
              <a:ea typeface="Poppins"/>
              <a:sym typeface="Poppins"/>
            </a:endParaRPr>
          </a:p>
          <a:p>
            <a:pPr algn="ctr">
              <a:buSzPts val="1400"/>
            </a:pPr>
            <a:r>
              <a:rPr lang="en-US" b="1">
                <a:solidFill>
                  <a:schemeClr val="dk1"/>
                </a:solidFill>
                <a:latin typeface="Poppins"/>
                <a:ea typeface="Poppins"/>
                <a:cs typeface="Poppins"/>
                <a:sym typeface="Poppins"/>
              </a:rPr>
              <a:t>(SF)</a:t>
            </a:r>
            <a:endParaRPr b="0" i="0" u="none" strike="noStrike" cap="none">
              <a:solidFill>
                <a:schemeClr val="dk1"/>
              </a:solidFill>
              <a:latin typeface="Arial"/>
              <a:ea typeface="Arial"/>
              <a:cs typeface="Arial"/>
            </a:endParaRPr>
          </a:p>
        </p:txBody>
      </p:sp>
      <p:sp>
        <p:nvSpPr>
          <p:cNvPr id="1266" name="Google Shape;1266;p20"/>
          <p:cNvSpPr txBox="1"/>
          <p:nvPr/>
        </p:nvSpPr>
        <p:spPr>
          <a:xfrm>
            <a:off x="6261020" y="3866739"/>
            <a:ext cx="2546508" cy="1200288"/>
          </a:xfrm>
          <a:prstGeom prst="rect">
            <a:avLst/>
          </a:prstGeom>
          <a:noFill/>
          <a:ln>
            <a:noFill/>
          </a:ln>
        </p:spPr>
        <p:txBody>
          <a:bodyPr spcFirstLastPara="1" wrap="square" lIns="91425" tIns="45700" rIns="91425" bIns="45700" anchor="t" anchorCtr="0">
            <a:spAutoFit/>
          </a:bodyPr>
          <a:lstStyle/>
          <a:p>
            <a:pPr algn="ctr">
              <a:buSzPts val="1200"/>
            </a:pPr>
            <a:r>
              <a:rPr lang="en-US" sz="1200" b="0" i="0" u="none" strike="noStrike" cap="none">
                <a:solidFill>
                  <a:schemeClr val="dk1"/>
                </a:solidFill>
                <a:latin typeface="Poppins"/>
                <a:ea typeface="Poppins"/>
                <a:cs typeface="Poppins"/>
                <a:sym typeface="Poppins"/>
              </a:rPr>
              <a:t>Provides a means of interaction and exchange of ideas between ILAC and </a:t>
            </a:r>
            <a:r>
              <a:rPr lang="en-US" sz="1200">
                <a:solidFill>
                  <a:schemeClr val="dk1"/>
                </a:solidFill>
                <a:latin typeface="Poppins"/>
                <a:ea typeface="Poppins"/>
                <a:cs typeface="Poppins"/>
                <a:sym typeface="Poppins"/>
              </a:rPr>
              <a:t>the stakeholder </a:t>
            </a:r>
            <a:r>
              <a:rPr lang="en-US" sz="1200" err="1">
                <a:solidFill>
                  <a:schemeClr val="dk1"/>
                </a:solidFill>
                <a:latin typeface="Poppins"/>
                <a:ea typeface="Poppins"/>
                <a:cs typeface="Poppins"/>
                <a:sym typeface="Poppins"/>
              </a:rPr>
              <a:t>organisations</a:t>
            </a:r>
            <a:r>
              <a:rPr lang="en-US" sz="1200">
                <a:solidFill>
                  <a:schemeClr val="dk1"/>
                </a:solidFill>
                <a:latin typeface="Poppins"/>
                <a:ea typeface="Poppins"/>
                <a:cs typeface="Poppins"/>
                <a:sym typeface="Poppins"/>
              </a:rPr>
              <a:t> that the forum members represent</a:t>
            </a:r>
            <a:r>
              <a:rPr lang="en-US" sz="1200" b="0" i="0" u="none" strike="noStrike" cap="none">
                <a:solidFill>
                  <a:schemeClr val="dk1"/>
                </a:solidFill>
                <a:latin typeface="Poppins"/>
                <a:ea typeface="Poppins"/>
                <a:cs typeface="Poppins"/>
                <a:sym typeface="Poppins"/>
              </a:rPr>
              <a:t>.</a:t>
            </a:r>
            <a:r>
              <a:rPr lang="en-US" sz="1200">
                <a:solidFill>
                  <a:schemeClr val="dk1"/>
                </a:solidFill>
                <a:latin typeface="Poppins"/>
                <a:ea typeface="Poppins"/>
                <a:cs typeface="Poppins"/>
                <a:sym typeface="Poppins"/>
              </a:rPr>
              <a:t> </a:t>
            </a:r>
            <a:endParaRPr sz="1400" b="0" i="0" u="none" strike="noStrike" cap="none">
              <a:solidFill>
                <a:schemeClr val="dk1"/>
              </a:solidFill>
              <a:latin typeface="Arial"/>
              <a:ea typeface="Arial"/>
              <a:cs typeface="Arial"/>
              <a:sym typeface="Arial"/>
            </a:endParaRPr>
          </a:p>
        </p:txBody>
      </p:sp>
      <p:sp>
        <p:nvSpPr>
          <p:cNvPr id="1267" name="Google Shape;1267;p20"/>
          <p:cNvSpPr txBox="1"/>
          <p:nvPr/>
        </p:nvSpPr>
        <p:spPr>
          <a:xfrm>
            <a:off x="9137569" y="3866739"/>
            <a:ext cx="2546508" cy="120032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representing the interests of developing countries and operates in conjunction with the International Accreditation Forum (IAF).</a:t>
            </a:r>
            <a:endParaRPr sz="1400" b="0" i="0" u="none" strike="noStrike" cap="none">
              <a:solidFill>
                <a:srgbClr val="000000"/>
              </a:solidFill>
              <a:latin typeface="Arial"/>
              <a:ea typeface="Arial"/>
              <a:cs typeface="Arial"/>
              <a:sym typeface="Arial"/>
            </a:endParaRPr>
          </a:p>
        </p:txBody>
      </p:sp>
      <p:sp>
        <p:nvSpPr>
          <p:cNvPr id="1268" name="Google Shape;1268;p20"/>
          <p:cNvSpPr txBox="1"/>
          <p:nvPr/>
        </p:nvSpPr>
        <p:spPr>
          <a:xfrm>
            <a:off x="9010648"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Joint Development Support Committee (JDSC) </a:t>
            </a:r>
            <a:endParaRPr sz="1400" b="0" i="0" u="none" strike="noStrike" cap="none">
              <a:solidFill>
                <a:srgbClr val="000000"/>
              </a:solidFill>
              <a:latin typeface="Arial"/>
              <a:ea typeface="Arial"/>
              <a:cs typeface="Arial"/>
              <a:sym typeface="Arial"/>
            </a:endParaRPr>
          </a:p>
        </p:txBody>
      </p:sp>
      <p:pic>
        <p:nvPicPr>
          <p:cNvPr id="1269" name="Google Shape;1269;p20"/>
          <p:cNvPicPr preferRelativeResize="0"/>
          <p:nvPr/>
        </p:nvPicPr>
        <p:blipFill rotWithShape="1">
          <a:blip r:embed="rId4">
            <a:alphaModFix/>
          </a:blip>
          <a:srcRect/>
          <a:stretch/>
        </p:blipFill>
        <p:spPr>
          <a:xfrm>
            <a:off x="1502055" y="2210616"/>
            <a:ext cx="546363" cy="548640"/>
          </a:xfrm>
          <a:prstGeom prst="rect">
            <a:avLst/>
          </a:prstGeom>
          <a:noFill/>
          <a:ln>
            <a:noFill/>
          </a:ln>
        </p:spPr>
      </p:pic>
      <p:pic>
        <p:nvPicPr>
          <p:cNvPr id="1270" name="Google Shape;1270;p20"/>
          <p:cNvPicPr preferRelativeResize="0"/>
          <p:nvPr/>
        </p:nvPicPr>
        <p:blipFill rotWithShape="1">
          <a:blip r:embed="rId5">
            <a:alphaModFix/>
          </a:blip>
          <a:srcRect/>
          <a:stretch/>
        </p:blipFill>
        <p:spPr>
          <a:xfrm>
            <a:off x="4383405" y="2210616"/>
            <a:ext cx="548640" cy="548640"/>
          </a:xfrm>
          <a:prstGeom prst="rect">
            <a:avLst/>
          </a:prstGeom>
          <a:noFill/>
          <a:ln>
            <a:noFill/>
          </a:ln>
        </p:spPr>
      </p:pic>
      <p:pic>
        <p:nvPicPr>
          <p:cNvPr id="1271" name="Google Shape;1271;p20"/>
          <p:cNvPicPr preferRelativeResize="0"/>
          <p:nvPr/>
        </p:nvPicPr>
        <p:blipFill rotWithShape="1">
          <a:blip r:embed="rId6">
            <a:alphaModFix/>
          </a:blip>
          <a:srcRect/>
          <a:stretch/>
        </p:blipFill>
        <p:spPr>
          <a:xfrm>
            <a:off x="7259954" y="2210616"/>
            <a:ext cx="548640" cy="548640"/>
          </a:xfrm>
          <a:prstGeom prst="rect">
            <a:avLst/>
          </a:prstGeom>
          <a:noFill/>
          <a:ln>
            <a:noFill/>
          </a:ln>
        </p:spPr>
      </p:pic>
      <p:pic>
        <p:nvPicPr>
          <p:cNvPr id="1272" name="Google Shape;1272;p20"/>
          <p:cNvPicPr preferRelativeResize="0"/>
          <p:nvPr/>
        </p:nvPicPr>
        <p:blipFill rotWithShape="1">
          <a:blip r:embed="rId7">
            <a:alphaModFix/>
          </a:blip>
          <a:srcRect/>
          <a:stretch/>
        </p:blipFill>
        <p:spPr>
          <a:xfrm>
            <a:off x="10063170" y="2210616"/>
            <a:ext cx="695306" cy="548640"/>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1"/>
        <p:cNvGrpSpPr/>
        <p:nvPr/>
      </p:nvGrpSpPr>
      <p:grpSpPr>
        <a:xfrm>
          <a:off x="0" y="0"/>
          <a:ext cx="0" cy="0"/>
          <a:chOff x="0" y="0"/>
          <a:chExt cx="0" cy="0"/>
        </a:xfrm>
      </p:grpSpPr>
      <p:sp>
        <p:nvSpPr>
          <p:cNvPr id="82" name="Google Shape;82;p2"/>
          <p:cNvSpPr txBox="1"/>
          <p:nvPr/>
        </p:nvSpPr>
        <p:spPr>
          <a:xfrm>
            <a:off x="4937926" y="1025908"/>
            <a:ext cx="410690"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83" name="Google Shape;83;p2"/>
          <p:cNvSpPr/>
          <p:nvPr/>
        </p:nvSpPr>
        <p:spPr>
          <a:xfrm>
            <a:off x="675044" y="1018467"/>
            <a:ext cx="156056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GLOBAL VISION</a:t>
            </a:r>
            <a:endParaRPr sz="1400" b="0" i="0" u="none" strike="noStrike" cap="none">
              <a:solidFill>
                <a:srgbClr val="000000"/>
              </a:solidFill>
              <a:latin typeface="Arial"/>
              <a:ea typeface="Arial"/>
              <a:cs typeface="Arial"/>
              <a:sym typeface="Arial"/>
            </a:endParaRPr>
          </a:p>
        </p:txBody>
      </p:sp>
      <p:cxnSp>
        <p:nvCxnSpPr>
          <p:cNvPr id="84" name="Google Shape;84;p2"/>
          <p:cNvCxnSpPr>
            <a:stCxn id="83" idx="3"/>
            <a:endCxn id="82" idx="1"/>
          </p:cNvCxnSpPr>
          <p:nvPr/>
        </p:nvCxnSpPr>
        <p:spPr>
          <a:xfrm>
            <a:off x="2235608" y="1179797"/>
            <a:ext cx="2702400" cy="0"/>
          </a:xfrm>
          <a:prstGeom prst="straightConnector1">
            <a:avLst/>
          </a:prstGeom>
          <a:noFill/>
          <a:ln w="9525" cap="flat" cmpd="sng">
            <a:solidFill>
              <a:schemeClr val="accent1"/>
            </a:solidFill>
            <a:prstDash val="solid"/>
            <a:miter lim="800000"/>
            <a:headEnd type="none" w="sm" len="sm"/>
            <a:tailEnd type="none" w="sm" len="sm"/>
          </a:ln>
        </p:spPr>
      </p:cxnSp>
      <p:sp>
        <p:nvSpPr>
          <p:cNvPr id="85" name="Google Shape;85;p2"/>
          <p:cNvSpPr/>
          <p:nvPr/>
        </p:nvSpPr>
        <p:spPr>
          <a:xfrm>
            <a:off x="675044" y="1495801"/>
            <a:ext cx="1998720" cy="1016377"/>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dirty="0">
                <a:solidFill>
                  <a:schemeClr val="dk1"/>
                </a:solidFill>
                <a:latin typeface="Poppins Light"/>
                <a:ea typeface="Poppins Light"/>
                <a:cs typeface="Poppins Light"/>
                <a:sym typeface="Poppins Light"/>
              </a:rPr>
              <a:t>Common Aims</a:t>
            </a:r>
            <a:endParaRPr lang="en-US"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dirty="0">
                <a:solidFill>
                  <a:schemeClr val="dk1"/>
                </a:solidFill>
                <a:latin typeface="Poppins Light"/>
                <a:ea typeface="Poppins Light"/>
                <a:cs typeface="Poppins Light"/>
                <a:sym typeface="Poppins Light"/>
              </a:rPr>
              <a:t>Quality Infrastructure</a:t>
            </a:r>
            <a:endParaRPr lang="en-US"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dirty="0">
                <a:solidFill>
                  <a:schemeClr val="dk1"/>
                </a:solidFill>
                <a:latin typeface="Poppins Light"/>
                <a:ea typeface="Poppins Light"/>
                <a:cs typeface="Poppins Light"/>
                <a:sym typeface="Poppins Light"/>
              </a:rPr>
              <a:t>The Arrangements</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dirty="0">
                <a:solidFill>
                  <a:schemeClr val="dk1"/>
                </a:solidFill>
                <a:latin typeface="Poppins Light"/>
                <a:ea typeface="Poppins Light"/>
                <a:cs typeface="Poppins Light"/>
                <a:sym typeface="Poppins Light"/>
              </a:rPr>
              <a:t>Objectives</a:t>
            </a:r>
            <a:endParaRPr sz="1400" b="0" i="0" u="none" strike="noStrike" cap="none" dirty="0">
              <a:solidFill>
                <a:srgbClr val="000000"/>
              </a:solidFill>
              <a:latin typeface="Arial"/>
              <a:ea typeface="Arial"/>
              <a:cs typeface="Arial"/>
              <a:sym typeface="Arial"/>
            </a:endParaRPr>
          </a:p>
        </p:txBody>
      </p:sp>
      <p:sp>
        <p:nvSpPr>
          <p:cNvPr id="86" name="Google Shape;86;p2"/>
          <p:cNvSpPr txBox="1"/>
          <p:nvPr/>
        </p:nvSpPr>
        <p:spPr>
          <a:xfrm>
            <a:off x="4931515" y="1418450"/>
            <a:ext cx="423513"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87" name="Google Shape;87;p2"/>
          <p:cNvSpPr/>
          <p:nvPr/>
        </p:nvSpPr>
        <p:spPr>
          <a:xfrm>
            <a:off x="675044" y="1411009"/>
            <a:ext cx="1105763"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amp; ILAC</a:t>
            </a:r>
            <a:endParaRPr sz="1400" b="0" i="0" u="none" strike="noStrike" cap="none">
              <a:solidFill>
                <a:srgbClr val="000000"/>
              </a:solidFill>
              <a:latin typeface="Arial"/>
              <a:ea typeface="Arial"/>
              <a:cs typeface="Arial"/>
              <a:sym typeface="Arial"/>
            </a:endParaRPr>
          </a:p>
        </p:txBody>
      </p:sp>
      <p:cxnSp>
        <p:nvCxnSpPr>
          <p:cNvPr id="88" name="Google Shape;88;p2"/>
          <p:cNvCxnSpPr>
            <a:stCxn id="87" idx="3"/>
            <a:endCxn id="86" idx="1"/>
          </p:cNvCxnSpPr>
          <p:nvPr/>
        </p:nvCxnSpPr>
        <p:spPr>
          <a:xfrm>
            <a:off x="1780807" y="1572339"/>
            <a:ext cx="3150600" cy="0"/>
          </a:xfrm>
          <a:prstGeom prst="straightConnector1">
            <a:avLst/>
          </a:prstGeom>
          <a:noFill/>
          <a:ln w="9525" cap="flat" cmpd="sng">
            <a:solidFill>
              <a:schemeClr val="accent1"/>
            </a:solidFill>
            <a:prstDash val="solid"/>
            <a:miter lim="800000"/>
            <a:headEnd type="none" w="sm" len="sm"/>
            <a:tailEnd type="none" w="sm" len="sm"/>
          </a:ln>
        </p:spPr>
      </p:cxnSp>
      <p:sp>
        <p:nvSpPr>
          <p:cNvPr id="89" name="Google Shape;89;p2"/>
          <p:cNvSpPr/>
          <p:nvPr/>
        </p:nvSpPr>
        <p:spPr>
          <a:xfrm>
            <a:off x="675044" y="2543396"/>
            <a:ext cx="2230749" cy="1016377"/>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AF Structure</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AF Committee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Coverage of the IAF MLA</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Status of the IAF MLA</a:t>
            </a:r>
            <a:endParaRPr sz="1400" b="0" i="0" u="none" strike="noStrike" cap="none">
              <a:solidFill>
                <a:srgbClr val="000000"/>
              </a:solidFill>
              <a:latin typeface="Arial"/>
              <a:ea typeface="Arial"/>
              <a:cs typeface="Arial"/>
              <a:sym typeface="Arial"/>
            </a:endParaRPr>
          </a:p>
        </p:txBody>
      </p:sp>
      <p:sp>
        <p:nvSpPr>
          <p:cNvPr id="90" name="Google Shape;90;p2"/>
          <p:cNvSpPr txBox="1"/>
          <p:nvPr/>
        </p:nvSpPr>
        <p:spPr>
          <a:xfrm>
            <a:off x="4933919" y="2472068"/>
            <a:ext cx="418704"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dk1"/>
                </a:solidFill>
                <a:latin typeface="Poppins"/>
                <a:cs typeface="Poppins"/>
                <a:sym typeface="Poppins"/>
              </a:rPr>
              <a:t>08</a:t>
            </a:r>
            <a:endParaRPr sz="1400" b="0" i="0" u="none" strike="noStrike" cap="none" dirty="0">
              <a:solidFill>
                <a:srgbClr val="000000"/>
              </a:solidFill>
              <a:latin typeface="Arial"/>
              <a:ea typeface="Arial"/>
              <a:cs typeface="Arial"/>
              <a:sym typeface="Arial"/>
            </a:endParaRPr>
          </a:p>
        </p:txBody>
      </p:sp>
      <p:sp>
        <p:nvSpPr>
          <p:cNvPr id="91" name="Google Shape;91;p2"/>
          <p:cNvSpPr/>
          <p:nvPr/>
        </p:nvSpPr>
        <p:spPr>
          <a:xfrm>
            <a:off x="675044" y="2464627"/>
            <a:ext cx="1142989"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BOUT IAF</a:t>
            </a:r>
            <a:endParaRPr sz="1400" b="0" i="0" u="none" strike="noStrike" cap="none">
              <a:solidFill>
                <a:srgbClr val="000000"/>
              </a:solidFill>
              <a:latin typeface="Arial"/>
              <a:ea typeface="Arial"/>
              <a:cs typeface="Arial"/>
              <a:sym typeface="Arial"/>
            </a:endParaRPr>
          </a:p>
        </p:txBody>
      </p:sp>
      <p:cxnSp>
        <p:nvCxnSpPr>
          <p:cNvPr id="92" name="Google Shape;92;p2"/>
          <p:cNvCxnSpPr>
            <a:stCxn id="91" idx="3"/>
            <a:endCxn id="90" idx="1"/>
          </p:cNvCxnSpPr>
          <p:nvPr/>
        </p:nvCxnSpPr>
        <p:spPr>
          <a:xfrm>
            <a:off x="1818033" y="2625957"/>
            <a:ext cx="3115800" cy="0"/>
          </a:xfrm>
          <a:prstGeom prst="straightConnector1">
            <a:avLst/>
          </a:prstGeom>
          <a:noFill/>
          <a:ln w="9525" cap="flat" cmpd="sng">
            <a:solidFill>
              <a:schemeClr val="accent1"/>
            </a:solidFill>
            <a:prstDash val="solid"/>
            <a:miter lim="800000"/>
            <a:headEnd type="none" w="sm" len="sm"/>
            <a:tailEnd type="none" w="sm" len="sm"/>
          </a:ln>
        </p:spPr>
      </p:cxnSp>
      <p:sp>
        <p:nvSpPr>
          <p:cNvPr id="93" name="Google Shape;93;p2"/>
          <p:cNvSpPr/>
          <p:nvPr/>
        </p:nvSpPr>
        <p:spPr>
          <a:xfrm>
            <a:off x="675044" y="3598106"/>
            <a:ext cx="2366372" cy="1016377"/>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LAC Structure</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LAC Committee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Coverage of the ILAC MRA</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Status of the ILAC MRA</a:t>
            </a:r>
            <a:endParaRPr sz="1400" b="0" i="0" u="none" strike="noStrike" cap="none">
              <a:solidFill>
                <a:srgbClr val="000000"/>
              </a:solidFill>
              <a:latin typeface="Arial"/>
              <a:ea typeface="Arial"/>
              <a:cs typeface="Arial"/>
              <a:sym typeface="Arial"/>
            </a:endParaRPr>
          </a:p>
        </p:txBody>
      </p:sp>
      <p:sp>
        <p:nvSpPr>
          <p:cNvPr id="94" name="Google Shape;94;p2"/>
          <p:cNvSpPr txBox="1"/>
          <p:nvPr/>
        </p:nvSpPr>
        <p:spPr>
          <a:xfrm>
            <a:off x="4969185" y="3499219"/>
            <a:ext cx="404278" cy="307736"/>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Poppins"/>
                <a:ea typeface="Arial"/>
                <a:cs typeface="Poppins"/>
                <a:sym typeface="Poppins"/>
              </a:rPr>
              <a:t>16</a:t>
            </a:r>
            <a:endParaRPr sz="1400" b="0" i="0" u="none" strike="noStrike" cap="none" dirty="0">
              <a:solidFill>
                <a:srgbClr val="000000"/>
              </a:solidFill>
              <a:latin typeface="Arial"/>
              <a:ea typeface="Arial"/>
              <a:cs typeface="Arial"/>
              <a:sym typeface="Arial"/>
            </a:endParaRPr>
          </a:p>
        </p:txBody>
      </p:sp>
      <p:sp>
        <p:nvSpPr>
          <p:cNvPr id="95" name="Google Shape;95;p2"/>
          <p:cNvSpPr/>
          <p:nvPr/>
        </p:nvSpPr>
        <p:spPr>
          <a:xfrm>
            <a:off x="675044" y="3491737"/>
            <a:ext cx="126761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BOUT ILAC</a:t>
            </a:r>
            <a:endParaRPr sz="1400" b="0" i="0" u="none" strike="noStrike" cap="none">
              <a:solidFill>
                <a:srgbClr val="000000"/>
              </a:solidFill>
              <a:latin typeface="Arial"/>
              <a:ea typeface="Arial"/>
              <a:cs typeface="Arial"/>
              <a:sym typeface="Arial"/>
            </a:endParaRPr>
          </a:p>
        </p:txBody>
      </p:sp>
      <p:cxnSp>
        <p:nvCxnSpPr>
          <p:cNvPr id="96" name="Google Shape;96;p2"/>
          <p:cNvCxnSpPr>
            <a:cxnSpLocks/>
            <a:stCxn id="95" idx="3"/>
            <a:endCxn id="94" idx="1"/>
          </p:cNvCxnSpPr>
          <p:nvPr/>
        </p:nvCxnSpPr>
        <p:spPr>
          <a:xfrm>
            <a:off x="1942658" y="3653067"/>
            <a:ext cx="3026527" cy="20"/>
          </a:xfrm>
          <a:prstGeom prst="straightConnector1">
            <a:avLst/>
          </a:prstGeom>
          <a:noFill/>
          <a:ln w="9525" cap="flat" cmpd="sng">
            <a:solidFill>
              <a:schemeClr val="accent1"/>
            </a:solidFill>
            <a:prstDash val="solid"/>
            <a:miter lim="800000"/>
            <a:headEnd type="none" w="sm" len="sm"/>
            <a:tailEnd type="none" w="sm" len="sm"/>
          </a:ln>
        </p:spPr>
      </p:cxnSp>
      <p:sp>
        <p:nvSpPr>
          <p:cNvPr id="97" name="Google Shape;97;p2"/>
          <p:cNvSpPr txBox="1"/>
          <p:nvPr/>
        </p:nvSpPr>
        <p:spPr>
          <a:xfrm>
            <a:off x="4938728" y="4632657"/>
            <a:ext cx="409087"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Poppins"/>
                <a:ea typeface="Arial"/>
                <a:cs typeface="Poppins"/>
                <a:sym typeface="Poppins"/>
              </a:rPr>
              <a:t>24</a:t>
            </a:r>
            <a:endParaRPr sz="1400" b="0" i="0" u="none" strike="noStrike" cap="none" dirty="0">
              <a:solidFill>
                <a:srgbClr val="000000"/>
              </a:solidFill>
              <a:latin typeface="Arial"/>
              <a:ea typeface="Arial"/>
              <a:cs typeface="Arial"/>
              <a:sym typeface="Arial"/>
            </a:endParaRPr>
          </a:p>
        </p:txBody>
      </p:sp>
      <p:sp>
        <p:nvSpPr>
          <p:cNvPr id="98" name="Google Shape;98;p2"/>
          <p:cNvSpPr/>
          <p:nvPr/>
        </p:nvSpPr>
        <p:spPr>
          <a:xfrm>
            <a:off x="675044" y="4625216"/>
            <a:ext cx="1804958"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ILAC TIMELINE</a:t>
            </a:r>
            <a:endParaRPr sz="1400" b="0" i="0" u="none" strike="noStrike" cap="none">
              <a:solidFill>
                <a:srgbClr val="000000"/>
              </a:solidFill>
              <a:latin typeface="Arial"/>
              <a:ea typeface="Arial"/>
              <a:cs typeface="Arial"/>
              <a:sym typeface="Arial"/>
            </a:endParaRPr>
          </a:p>
        </p:txBody>
      </p:sp>
      <p:cxnSp>
        <p:nvCxnSpPr>
          <p:cNvPr id="99" name="Google Shape;99;p2"/>
          <p:cNvCxnSpPr>
            <a:stCxn id="98" idx="3"/>
            <a:endCxn id="97" idx="1"/>
          </p:cNvCxnSpPr>
          <p:nvPr/>
        </p:nvCxnSpPr>
        <p:spPr>
          <a:xfrm>
            <a:off x="2480002" y="4786546"/>
            <a:ext cx="2458800" cy="0"/>
          </a:xfrm>
          <a:prstGeom prst="straightConnector1">
            <a:avLst/>
          </a:prstGeom>
          <a:noFill/>
          <a:ln w="9525" cap="flat" cmpd="sng">
            <a:solidFill>
              <a:schemeClr val="accent1"/>
            </a:solidFill>
            <a:prstDash val="solid"/>
            <a:miter lim="800000"/>
            <a:headEnd type="none" w="sm" len="sm"/>
            <a:tailEnd type="none" w="sm" len="sm"/>
          </a:ln>
        </p:spPr>
      </p:cxnSp>
      <p:sp>
        <p:nvSpPr>
          <p:cNvPr id="100" name="Google Shape;100;p2"/>
          <p:cNvSpPr/>
          <p:nvPr/>
        </p:nvSpPr>
        <p:spPr>
          <a:xfrm>
            <a:off x="675044" y="5123835"/>
            <a:ext cx="1003609" cy="435590"/>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Benefits</a:t>
            </a:r>
            <a:endParaRPr sz="1400" b="0" i="0" u="none" strike="noStrike" cap="none">
              <a:solidFill>
                <a:srgbClr val="000000"/>
              </a:solidFill>
              <a:latin typeface="Arial"/>
              <a:ea typeface="Arial"/>
              <a:cs typeface="Arial"/>
              <a:sym typeface="Arial"/>
            </a:endParaRPr>
          </a:p>
        </p:txBody>
      </p:sp>
      <p:sp>
        <p:nvSpPr>
          <p:cNvPr id="101" name="Google Shape;101;p2"/>
          <p:cNvSpPr txBox="1"/>
          <p:nvPr/>
        </p:nvSpPr>
        <p:spPr>
          <a:xfrm>
            <a:off x="4941132" y="4970691"/>
            <a:ext cx="404278"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dk1"/>
                </a:solidFill>
                <a:latin typeface="Poppins"/>
                <a:cs typeface="Poppins"/>
                <a:sym typeface="Poppins"/>
              </a:rPr>
              <a:t>25</a:t>
            </a:r>
            <a:endParaRPr sz="1400" b="0" i="0" u="none" strike="noStrike" cap="none" dirty="0">
              <a:solidFill>
                <a:srgbClr val="000000"/>
              </a:solidFill>
              <a:latin typeface="Arial"/>
              <a:ea typeface="Arial"/>
              <a:cs typeface="Arial"/>
              <a:sym typeface="Arial"/>
            </a:endParaRPr>
          </a:p>
        </p:txBody>
      </p:sp>
      <p:sp>
        <p:nvSpPr>
          <p:cNvPr id="102" name="Google Shape;102;p2"/>
          <p:cNvSpPr/>
          <p:nvPr/>
        </p:nvSpPr>
        <p:spPr>
          <a:xfrm>
            <a:off x="675044" y="4963250"/>
            <a:ext cx="2989921"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amp; ILAC MULTILATERAL MRAS</a:t>
            </a:r>
            <a:endParaRPr sz="1400" b="0" i="0" u="none" strike="noStrike" cap="none">
              <a:solidFill>
                <a:srgbClr val="000000"/>
              </a:solidFill>
              <a:latin typeface="Arial"/>
              <a:ea typeface="Arial"/>
              <a:cs typeface="Arial"/>
              <a:sym typeface="Arial"/>
            </a:endParaRPr>
          </a:p>
        </p:txBody>
      </p:sp>
      <p:cxnSp>
        <p:nvCxnSpPr>
          <p:cNvPr id="103" name="Google Shape;103;p2"/>
          <p:cNvCxnSpPr>
            <a:cxnSpLocks/>
            <a:stCxn id="104" idx="3"/>
            <a:endCxn id="105" idx="1"/>
          </p:cNvCxnSpPr>
          <p:nvPr/>
        </p:nvCxnSpPr>
        <p:spPr>
          <a:xfrm flipV="1">
            <a:off x="4798289" y="5713313"/>
            <a:ext cx="94119" cy="1"/>
          </a:xfrm>
          <a:prstGeom prst="straightConnector1">
            <a:avLst/>
          </a:prstGeom>
          <a:noFill/>
          <a:ln w="9525" cap="flat" cmpd="sng">
            <a:solidFill>
              <a:schemeClr val="accent1"/>
            </a:solidFill>
            <a:prstDash val="solid"/>
            <a:miter lim="800000"/>
            <a:headEnd type="none" w="sm" len="sm"/>
            <a:tailEnd type="none" w="sm" len="sm"/>
          </a:ln>
        </p:spPr>
      </p:cxnSp>
      <p:sp>
        <p:nvSpPr>
          <p:cNvPr id="106" name="Google Shape;106;p2"/>
          <p:cNvSpPr txBox="1"/>
          <p:nvPr/>
        </p:nvSpPr>
        <p:spPr>
          <a:xfrm>
            <a:off x="11391639" y="1061483"/>
            <a:ext cx="410690"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b="1" dirty="0">
                <a:solidFill>
                  <a:schemeClr val="dk1"/>
                </a:solidFill>
                <a:latin typeface="Poppins"/>
                <a:cs typeface="Poppins"/>
                <a:sym typeface="Poppins"/>
              </a:rPr>
              <a:t>29</a:t>
            </a:r>
            <a:endParaRPr sz="1400" b="0" i="0" u="none" strike="noStrike" cap="none" dirty="0">
              <a:solidFill>
                <a:srgbClr val="000000"/>
              </a:solidFill>
              <a:latin typeface="Arial"/>
              <a:ea typeface="Arial"/>
              <a:cs typeface="Arial"/>
              <a:sym typeface="Arial"/>
            </a:endParaRPr>
          </a:p>
        </p:txBody>
      </p:sp>
      <p:sp>
        <p:nvSpPr>
          <p:cNvPr id="107" name="Google Shape;107;p2"/>
          <p:cNvSpPr/>
          <p:nvPr/>
        </p:nvSpPr>
        <p:spPr>
          <a:xfrm>
            <a:off x="6146944" y="1054001"/>
            <a:ext cx="5035353"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PPLICATION OF THE GLOBAL ACCREDITATION SYSTEM</a:t>
            </a:r>
            <a:endParaRPr sz="1400" b="0" i="0" u="none" strike="noStrike" cap="none">
              <a:solidFill>
                <a:srgbClr val="000000"/>
              </a:solidFill>
              <a:latin typeface="Arial"/>
              <a:ea typeface="Arial"/>
              <a:cs typeface="Arial"/>
              <a:sym typeface="Arial"/>
            </a:endParaRPr>
          </a:p>
        </p:txBody>
      </p:sp>
      <p:cxnSp>
        <p:nvCxnSpPr>
          <p:cNvPr id="108" name="Google Shape;108;p2"/>
          <p:cNvCxnSpPr>
            <a:cxnSpLocks/>
            <a:stCxn id="106" idx="1"/>
            <a:endCxn id="107" idx="3"/>
          </p:cNvCxnSpPr>
          <p:nvPr/>
        </p:nvCxnSpPr>
        <p:spPr>
          <a:xfrm flipH="1" flipV="1">
            <a:off x="11182297" y="1215331"/>
            <a:ext cx="209342" cy="20"/>
          </a:xfrm>
          <a:prstGeom prst="straightConnector1">
            <a:avLst/>
          </a:prstGeom>
          <a:noFill/>
          <a:ln w="9525" cap="flat" cmpd="sng">
            <a:solidFill>
              <a:schemeClr val="accent1"/>
            </a:solidFill>
            <a:prstDash val="solid"/>
            <a:miter lim="800000"/>
            <a:headEnd type="none" w="sm" len="sm"/>
            <a:tailEnd type="none" w="sm" len="sm"/>
          </a:ln>
        </p:spPr>
      </p:cxnSp>
      <p:sp>
        <p:nvSpPr>
          <p:cNvPr id="109" name="Google Shape;109;p2"/>
          <p:cNvSpPr txBox="1"/>
          <p:nvPr/>
        </p:nvSpPr>
        <p:spPr>
          <a:xfrm>
            <a:off x="11391639" y="5613115"/>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b="1" dirty="0">
                <a:solidFill>
                  <a:schemeClr val="dk1"/>
                </a:solidFill>
                <a:latin typeface="Poppins"/>
                <a:cs typeface="Poppins"/>
                <a:sym typeface="Poppins"/>
              </a:rPr>
              <a:t>41</a:t>
            </a:r>
            <a:endParaRPr sz="1400" b="0" i="0" u="none" strike="noStrike" cap="none" dirty="0">
              <a:solidFill>
                <a:srgbClr val="000000"/>
              </a:solidFill>
              <a:latin typeface="Arial"/>
              <a:ea typeface="Arial"/>
              <a:cs typeface="Arial"/>
              <a:sym typeface="Arial"/>
            </a:endParaRPr>
          </a:p>
        </p:txBody>
      </p:sp>
      <p:sp>
        <p:nvSpPr>
          <p:cNvPr id="110" name="Google Shape;110;p2"/>
          <p:cNvSpPr/>
          <p:nvPr/>
        </p:nvSpPr>
        <p:spPr>
          <a:xfrm>
            <a:off x="6146944" y="5605633"/>
            <a:ext cx="1830950"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CONTACT DETAILS</a:t>
            </a:r>
            <a:endParaRPr sz="1400" b="0" i="0" u="none" strike="noStrike" cap="none">
              <a:solidFill>
                <a:srgbClr val="000000"/>
              </a:solidFill>
              <a:latin typeface="Arial"/>
              <a:ea typeface="Arial"/>
              <a:cs typeface="Arial"/>
              <a:sym typeface="Arial"/>
            </a:endParaRPr>
          </a:p>
        </p:txBody>
      </p:sp>
      <p:cxnSp>
        <p:nvCxnSpPr>
          <p:cNvPr id="111" name="Google Shape;111;p2"/>
          <p:cNvCxnSpPr>
            <a:cxnSpLocks/>
            <a:stCxn id="110" idx="3"/>
            <a:endCxn id="109" idx="1"/>
          </p:cNvCxnSpPr>
          <p:nvPr/>
        </p:nvCxnSpPr>
        <p:spPr>
          <a:xfrm>
            <a:off x="7977894" y="5766963"/>
            <a:ext cx="3413745" cy="20"/>
          </a:xfrm>
          <a:prstGeom prst="straightConnector1">
            <a:avLst/>
          </a:prstGeom>
          <a:noFill/>
          <a:ln w="9525" cap="flat" cmpd="sng">
            <a:solidFill>
              <a:schemeClr val="accent1"/>
            </a:solidFill>
            <a:prstDash val="solid"/>
            <a:miter lim="800000"/>
            <a:headEnd type="none" w="sm" len="sm"/>
            <a:tailEnd type="none" w="sm" len="sm"/>
          </a:ln>
        </p:spPr>
      </p:cxnSp>
      <p:sp>
        <p:nvSpPr>
          <p:cNvPr id="112" name="Google Shape;112;p2"/>
          <p:cNvSpPr txBox="1"/>
          <p:nvPr/>
        </p:nvSpPr>
        <p:spPr>
          <a:xfrm>
            <a:off x="11391639" y="5107379"/>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Poppins"/>
                <a:ea typeface="Arial"/>
                <a:cs typeface="Poppins"/>
                <a:sym typeface="Poppins"/>
              </a:rPr>
              <a:t>40</a:t>
            </a:r>
            <a:endParaRPr sz="1400" b="0" i="0" u="none" strike="noStrike" cap="none" dirty="0">
              <a:solidFill>
                <a:srgbClr val="000000"/>
              </a:solidFill>
              <a:latin typeface="Arial"/>
              <a:ea typeface="Arial"/>
              <a:cs typeface="Arial"/>
              <a:sym typeface="Arial"/>
            </a:endParaRPr>
          </a:p>
        </p:txBody>
      </p:sp>
      <p:sp>
        <p:nvSpPr>
          <p:cNvPr id="113" name="Google Shape;113;p2"/>
          <p:cNvSpPr/>
          <p:nvPr/>
        </p:nvSpPr>
        <p:spPr>
          <a:xfrm>
            <a:off x="6146944" y="5099897"/>
            <a:ext cx="3448380"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SOURCES OF FURTHER INFORMATION</a:t>
            </a:r>
            <a:endParaRPr sz="1400" b="0" i="0" u="none" strike="noStrike" cap="none">
              <a:solidFill>
                <a:srgbClr val="000000"/>
              </a:solidFill>
              <a:latin typeface="Arial"/>
              <a:ea typeface="Arial"/>
              <a:cs typeface="Arial"/>
              <a:sym typeface="Arial"/>
            </a:endParaRPr>
          </a:p>
        </p:txBody>
      </p:sp>
      <p:cxnSp>
        <p:nvCxnSpPr>
          <p:cNvPr id="114" name="Google Shape;114;p2"/>
          <p:cNvCxnSpPr>
            <a:cxnSpLocks/>
            <a:stCxn id="113" idx="3"/>
            <a:endCxn id="112" idx="1"/>
          </p:cNvCxnSpPr>
          <p:nvPr/>
        </p:nvCxnSpPr>
        <p:spPr>
          <a:xfrm>
            <a:off x="9595324" y="5261227"/>
            <a:ext cx="1796315" cy="20"/>
          </a:xfrm>
          <a:prstGeom prst="straightConnector1">
            <a:avLst/>
          </a:prstGeom>
          <a:noFill/>
          <a:ln w="9525" cap="flat" cmpd="sng">
            <a:solidFill>
              <a:schemeClr val="accent1"/>
            </a:solidFill>
            <a:prstDash val="solid"/>
            <a:miter lim="800000"/>
            <a:headEnd type="none" w="sm" len="sm"/>
            <a:tailEnd type="none" w="sm" len="sm"/>
          </a:ln>
        </p:spPr>
      </p:cxnSp>
      <p:sp>
        <p:nvSpPr>
          <p:cNvPr id="115" name="Google Shape;115;p2"/>
          <p:cNvSpPr txBox="1"/>
          <p:nvPr/>
        </p:nvSpPr>
        <p:spPr>
          <a:xfrm>
            <a:off x="11391639" y="4601642"/>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Poppins"/>
                <a:ea typeface="Arial"/>
                <a:cs typeface="Poppins"/>
                <a:sym typeface="Poppins"/>
              </a:rPr>
              <a:t>39</a:t>
            </a:r>
            <a:endParaRPr sz="1400" b="0" i="0" u="none" strike="noStrike" cap="none" dirty="0">
              <a:solidFill>
                <a:srgbClr val="000000"/>
              </a:solidFill>
              <a:latin typeface="Arial"/>
              <a:ea typeface="Arial"/>
              <a:cs typeface="Arial"/>
              <a:sym typeface="Arial"/>
            </a:endParaRPr>
          </a:p>
        </p:txBody>
      </p:sp>
      <p:sp>
        <p:nvSpPr>
          <p:cNvPr id="116" name="Google Shape;116;p2"/>
          <p:cNvSpPr/>
          <p:nvPr/>
        </p:nvSpPr>
        <p:spPr>
          <a:xfrm>
            <a:off x="6146944" y="4594160"/>
            <a:ext cx="278313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WORLD ACCREDITATION DAY</a:t>
            </a:r>
            <a:endParaRPr sz="1400" b="0" i="0" u="none" strike="noStrike" cap="none">
              <a:solidFill>
                <a:srgbClr val="000000"/>
              </a:solidFill>
              <a:latin typeface="Arial"/>
              <a:ea typeface="Arial"/>
              <a:cs typeface="Arial"/>
              <a:sym typeface="Arial"/>
            </a:endParaRPr>
          </a:p>
        </p:txBody>
      </p:sp>
      <p:cxnSp>
        <p:nvCxnSpPr>
          <p:cNvPr id="117" name="Google Shape;117;p2"/>
          <p:cNvCxnSpPr>
            <a:cxnSpLocks/>
            <a:stCxn id="116" idx="3"/>
            <a:endCxn id="115" idx="1"/>
          </p:cNvCxnSpPr>
          <p:nvPr/>
        </p:nvCxnSpPr>
        <p:spPr>
          <a:xfrm>
            <a:off x="8930078" y="4755490"/>
            <a:ext cx="2461561" cy="20"/>
          </a:xfrm>
          <a:prstGeom prst="straightConnector1">
            <a:avLst/>
          </a:prstGeom>
          <a:noFill/>
          <a:ln w="9525" cap="flat" cmpd="sng">
            <a:solidFill>
              <a:schemeClr val="accent1"/>
            </a:solidFill>
            <a:prstDash val="solid"/>
            <a:miter lim="800000"/>
            <a:headEnd type="none" w="sm" len="sm"/>
            <a:tailEnd type="none" w="sm" len="sm"/>
          </a:ln>
        </p:spPr>
      </p:cxnSp>
      <p:sp>
        <p:nvSpPr>
          <p:cNvPr id="118" name="Google Shape;118;p2"/>
          <p:cNvSpPr txBox="1"/>
          <p:nvPr/>
        </p:nvSpPr>
        <p:spPr>
          <a:xfrm>
            <a:off x="11391639" y="4095864"/>
            <a:ext cx="410690" cy="307777"/>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Poppins"/>
                <a:ea typeface="Arial"/>
                <a:cs typeface="Poppins"/>
                <a:sym typeface="Poppins"/>
              </a:rPr>
              <a:t>37</a:t>
            </a:r>
            <a:endParaRPr sz="1400" b="0" i="0" u="none" strike="noStrike" cap="none" dirty="0">
              <a:solidFill>
                <a:srgbClr val="000000"/>
              </a:solidFill>
              <a:latin typeface="Arial"/>
              <a:ea typeface="Arial"/>
              <a:cs typeface="Arial"/>
              <a:sym typeface="Arial"/>
            </a:endParaRPr>
          </a:p>
        </p:txBody>
      </p:sp>
      <p:sp>
        <p:nvSpPr>
          <p:cNvPr id="119" name="Google Shape;119;p2"/>
          <p:cNvSpPr/>
          <p:nvPr/>
        </p:nvSpPr>
        <p:spPr>
          <a:xfrm>
            <a:off x="6146944" y="4088423"/>
            <a:ext cx="2371162"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OBLIGATIONS AS AN AB?</a:t>
            </a:r>
            <a:endParaRPr sz="1400" b="0" i="0" u="none" strike="noStrike" cap="none">
              <a:solidFill>
                <a:srgbClr val="000000"/>
              </a:solidFill>
              <a:latin typeface="Arial"/>
              <a:ea typeface="Arial"/>
              <a:cs typeface="Arial"/>
              <a:sym typeface="Arial"/>
            </a:endParaRPr>
          </a:p>
        </p:txBody>
      </p:sp>
      <p:cxnSp>
        <p:nvCxnSpPr>
          <p:cNvPr id="120" name="Google Shape;120;p2"/>
          <p:cNvCxnSpPr>
            <a:stCxn id="119" idx="3"/>
            <a:endCxn id="118" idx="1"/>
          </p:cNvCxnSpPr>
          <p:nvPr/>
        </p:nvCxnSpPr>
        <p:spPr>
          <a:xfrm>
            <a:off x="8518106" y="4249753"/>
            <a:ext cx="2873400" cy="0"/>
          </a:xfrm>
          <a:prstGeom prst="straightConnector1">
            <a:avLst/>
          </a:prstGeom>
          <a:noFill/>
          <a:ln w="9525" cap="flat" cmpd="sng">
            <a:solidFill>
              <a:schemeClr val="accent1"/>
            </a:solidFill>
            <a:prstDash val="solid"/>
            <a:miter lim="800000"/>
            <a:headEnd type="none" w="sm" len="sm"/>
            <a:tailEnd type="none" w="sm" len="sm"/>
          </a:ln>
        </p:spPr>
      </p:cxnSp>
      <p:sp>
        <p:nvSpPr>
          <p:cNvPr id="121" name="Google Shape;121;p2"/>
          <p:cNvSpPr txBox="1"/>
          <p:nvPr/>
        </p:nvSpPr>
        <p:spPr>
          <a:xfrm>
            <a:off x="11391639" y="3590168"/>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b="1" dirty="0">
                <a:solidFill>
                  <a:schemeClr val="dk1"/>
                </a:solidFill>
                <a:latin typeface="Poppins"/>
                <a:cs typeface="Poppins"/>
                <a:sym typeface="Poppins"/>
              </a:rPr>
              <a:t>36</a:t>
            </a:r>
            <a:endParaRPr sz="1400" b="0" i="0" u="none" strike="noStrike" cap="none" dirty="0">
              <a:solidFill>
                <a:srgbClr val="000000"/>
              </a:solidFill>
              <a:latin typeface="Arial"/>
              <a:ea typeface="Arial"/>
              <a:cs typeface="Arial"/>
              <a:sym typeface="Arial"/>
            </a:endParaRPr>
          </a:p>
        </p:txBody>
      </p:sp>
      <p:sp>
        <p:nvSpPr>
          <p:cNvPr id="122" name="Google Shape;122;p2"/>
          <p:cNvSpPr/>
          <p:nvPr/>
        </p:nvSpPr>
        <p:spPr>
          <a:xfrm>
            <a:off x="6146944" y="3582686"/>
            <a:ext cx="325281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HOW DO THE COMMITTEES WORK?</a:t>
            </a:r>
            <a:endParaRPr sz="1400" b="0" i="0" u="none" strike="noStrike" cap="none">
              <a:solidFill>
                <a:srgbClr val="000000"/>
              </a:solidFill>
              <a:latin typeface="Arial"/>
              <a:ea typeface="Arial"/>
              <a:cs typeface="Arial"/>
              <a:sym typeface="Arial"/>
            </a:endParaRPr>
          </a:p>
        </p:txBody>
      </p:sp>
      <p:cxnSp>
        <p:nvCxnSpPr>
          <p:cNvPr id="123" name="Google Shape;123;p2"/>
          <p:cNvCxnSpPr>
            <a:cxnSpLocks/>
            <a:stCxn id="122" idx="3"/>
            <a:endCxn id="121" idx="1"/>
          </p:cNvCxnSpPr>
          <p:nvPr/>
        </p:nvCxnSpPr>
        <p:spPr>
          <a:xfrm>
            <a:off x="9399758" y="3744016"/>
            <a:ext cx="1991881" cy="20"/>
          </a:xfrm>
          <a:prstGeom prst="straightConnector1">
            <a:avLst/>
          </a:prstGeom>
          <a:noFill/>
          <a:ln w="9525" cap="flat" cmpd="sng">
            <a:solidFill>
              <a:schemeClr val="accent1"/>
            </a:solidFill>
            <a:prstDash val="solid"/>
            <a:miter lim="800000"/>
            <a:headEnd type="none" w="sm" len="sm"/>
            <a:tailEnd type="none" w="sm" len="sm"/>
          </a:ln>
        </p:spPr>
      </p:cxnSp>
      <p:sp>
        <p:nvSpPr>
          <p:cNvPr id="124" name="Google Shape;124;p2"/>
          <p:cNvSpPr txBox="1"/>
          <p:nvPr/>
        </p:nvSpPr>
        <p:spPr>
          <a:xfrm>
            <a:off x="11391639" y="3084431"/>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b="1" dirty="0">
                <a:solidFill>
                  <a:schemeClr val="dk1"/>
                </a:solidFill>
                <a:latin typeface="Poppins"/>
                <a:cs typeface="Poppins"/>
                <a:sym typeface="Poppins"/>
              </a:rPr>
              <a:t>34</a:t>
            </a:r>
            <a:endParaRPr sz="1400" b="0" i="0" u="none" strike="noStrike" cap="none" dirty="0">
              <a:solidFill>
                <a:srgbClr val="000000"/>
              </a:solidFill>
              <a:latin typeface="Arial"/>
              <a:ea typeface="Arial"/>
              <a:cs typeface="Arial"/>
              <a:sym typeface="Arial"/>
            </a:endParaRPr>
          </a:p>
        </p:txBody>
      </p:sp>
      <p:sp>
        <p:nvSpPr>
          <p:cNvPr id="125" name="Google Shape;125;p2"/>
          <p:cNvSpPr/>
          <p:nvPr/>
        </p:nvSpPr>
        <p:spPr>
          <a:xfrm>
            <a:off x="6146944" y="3076949"/>
            <a:ext cx="1448886"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PARTNERS</a:t>
            </a:r>
            <a:endParaRPr sz="1400" b="0" i="0" u="none" strike="noStrike" cap="none">
              <a:solidFill>
                <a:srgbClr val="000000"/>
              </a:solidFill>
              <a:latin typeface="Arial"/>
              <a:ea typeface="Arial"/>
              <a:cs typeface="Arial"/>
              <a:sym typeface="Arial"/>
            </a:endParaRPr>
          </a:p>
        </p:txBody>
      </p:sp>
      <p:cxnSp>
        <p:nvCxnSpPr>
          <p:cNvPr id="126" name="Google Shape;126;p2"/>
          <p:cNvCxnSpPr>
            <a:cxnSpLocks/>
            <a:stCxn id="125" idx="3"/>
            <a:endCxn id="124" idx="1"/>
          </p:cNvCxnSpPr>
          <p:nvPr/>
        </p:nvCxnSpPr>
        <p:spPr>
          <a:xfrm>
            <a:off x="7595830" y="3238279"/>
            <a:ext cx="3795809" cy="20"/>
          </a:xfrm>
          <a:prstGeom prst="straightConnector1">
            <a:avLst/>
          </a:prstGeom>
          <a:noFill/>
          <a:ln w="9525" cap="flat" cmpd="sng">
            <a:solidFill>
              <a:schemeClr val="accent1"/>
            </a:solidFill>
            <a:prstDash val="solid"/>
            <a:miter lim="800000"/>
            <a:headEnd type="none" w="sm" len="sm"/>
            <a:tailEnd type="none" w="sm" len="sm"/>
          </a:ln>
        </p:spPr>
      </p:cxnSp>
      <p:sp>
        <p:nvSpPr>
          <p:cNvPr id="127" name="Google Shape;127;p2"/>
          <p:cNvSpPr txBox="1"/>
          <p:nvPr/>
        </p:nvSpPr>
        <p:spPr>
          <a:xfrm>
            <a:off x="11391638" y="2578694"/>
            <a:ext cx="506447"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Poppins"/>
                <a:ea typeface="Arial"/>
                <a:cs typeface="Poppins"/>
                <a:sym typeface="Poppins"/>
              </a:rPr>
              <a:t>32</a:t>
            </a:r>
            <a:endParaRPr sz="1400" b="0" i="0" u="none" strike="noStrike" cap="none" dirty="0">
              <a:solidFill>
                <a:srgbClr val="000000"/>
              </a:solidFill>
              <a:latin typeface="Arial"/>
              <a:ea typeface="Arial"/>
              <a:cs typeface="Arial"/>
              <a:sym typeface="Arial"/>
            </a:endParaRPr>
          </a:p>
        </p:txBody>
      </p:sp>
      <p:sp>
        <p:nvSpPr>
          <p:cNvPr id="128" name="Google Shape;128;p2"/>
          <p:cNvSpPr/>
          <p:nvPr/>
        </p:nvSpPr>
        <p:spPr>
          <a:xfrm>
            <a:off x="6146944" y="2571212"/>
            <a:ext cx="1573512"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LAC PARTNERS</a:t>
            </a:r>
            <a:endParaRPr sz="1400" b="0" i="0" u="none" strike="noStrike" cap="none">
              <a:solidFill>
                <a:srgbClr val="000000"/>
              </a:solidFill>
              <a:latin typeface="Arial"/>
              <a:ea typeface="Arial"/>
              <a:cs typeface="Arial"/>
              <a:sym typeface="Arial"/>
            </a:endParaRPr>
          </a:p>
        </p:txBody>
      </p:sp>
      <p:cxnSp>
        <p:nvCxnSpPr>
          <p:cNvPr id="129" name="Google Shape;129;p2"/>
          <p:cNvCxnSpPr>
            <a:cxnSpLocks/>
            <a:stCxn id="128" idx="3"/>
            <a:endCxn id="127" idx="1"/>
          </p:cNvCxnSpPr>
          <p:nvPr/>
        </p:nvCxnSpPr>
        <p:spPr>
          <a:xfrm>
            <a:off x="7720456" y="2732542"/>
            <a:ext cx="3671182" cy="20"/>
          </a:xfrm>
          <a:prstGeom prst="straightConnector1">
            <a:avLst/>
          </a:prstGeom>
          <a:noFill/>
          <a:ln w="9525" cap="flat" cmpd="sng">
            <a:solidFill>
              <a:schemeClr val="accent1"/>
            </a:solidFill>
            <a:prstDash val="solid"/>
            <a:miter lim="800000"/>
            <a:headEnd type="none" w="sm" len="sm"/>
            <a:tailEnd type="none" w="sm" len="sm"/>
          </a:ln>
        </p:spPr>
      </p:cxnSp>
      <p:sp>
        <p:nvSpPr>
          <p:cNvPr id="130" name="Google Shape;130;p2"/>
          <p:cNvSpPr txBox="1"/>
          <p:nvPr/>
        </p:nvSpPr>
        <p:spPr>
          <a:xfrm>
            <a:off x="11391639" y="2072957"/>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Poppins"/>
                <a:ea typeface="Arial"/>
                <a:cs typeface="Poppins"/>
                <a:sym typeface="Poppins"/>
              </a:rPr>
              <a:t>31</a:t>
            </a:r>
            <a:endParaRPr sz="1400" b="0" i="0" u="none" strike="noStrike" cap="none" dirty="0">
              <a:solidFill>
                <a:srgbClr val="000000"/>
              </a:solidFill>
              <a:latin typeface="Arial"/>
              <a:ea typeface="Arial"/>
              <a:cs typeface="Arial"/>
              <a:sym typeface="Arial"/>
            </a:endParaRPr>
          </a:p>
        </p:txBody>
      </p:sp>
      <p:sp>
        <p:nvSpPr>
          <p:cNvPr id="131" name="Google Shape;131;p2"/>
          <p:cNvSpPr/>
          <p:nvPr/>
        </p:nvSpPr>
        <p:spPr>
          <a:xfrm>
            <a:off x="6146944" y="2065475"/>
            <a:ext cx="1938351"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MEMBERSHIP TYPES</a:t>
            </a:r>
            <a:endParaRPr sz="1400" b="0" i="0" u="none" strike="noStrike" cap="none">
              <a:solidFill>
                <a:srgbClr val="000000"/>
              </a:solidFill>
              <a:latin typeface="Arial"/>
              <a:ea typeface="Arial"/>
              <a:cs typeface="Arial"/>
              <a:sym typeface="Arial"/>
            </a:endParaRPr>
          </a:p>
        </p:txBody>
      </p:sp>
      <p:cxnSp>
        <p:nvCxnSpPr>
          <p:cNvPr id="132" name="Google Shape;132;p2"/>
          <p:cNvCxnSpPr>
            <a:cxnSpLocks/>
            <a:stCxn id="131" idx="3"/>
            <a:endCxn id="130" idx="1"/>
          </p:cNvCxnSpPr>
          <p:nvPr/>
        </p:nvCxnSpPr>
        <p:spPr>
          <a:xfrm>
            <a:off x="8085295" y="2226805"/>
            <a:ext cx="3306344" cy="20"/>
          </a:xfrm>
          <a:prstGeom prst="straightConnector1">
            <a:avLst/>
          </a:prstGeom>
          <a:noFill/>
          <a:ln w="9525" cap="flat" cmpd="sng">
            <a:solidFill>
              <a:schemeClr val="accent1"/>
            </a:solidFill>
            <a:prstDash val="solid"/>
            <a:miter lim="800000"/>
            <a:headEnd type="none" w="sm" len="sm"/>
            <a:tailEnd type="none" w="sm" len="sm"/>
          </a:ln>
        </p:spPr>
      </p:cxnSp>
      <p:sp>
        <p:nvSpPr>
          <p:cNvPr id="133" name="Google Shape;133;p2"/>
          <p:cNvSpPr txBox="1"/>
          <p:nvPr/>
        </p:nvSpPr>
        <p:spPr>
          <a:xfrm>
            <a:off x="11391639" y="1567220"/>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Poppins"/>
                <a:ea typeface="Arial"/>
                <a:cs typeface="Poppins"/>
                <a:sym typeface="Poppins"/>
              </a:rPr>
              <a:t>30</a:t>
            </a:r>
            <a:endParaRPr sz="1400" b="0" i="0" u="none" strike="noStrike" cap="none" dirty="0">
              <a:solidFill>
                <a:srgbClr val="000000"/>
              </a:solidFill>
              <a:latin typeface="Arial"/>
              <a:ea typeface="Arial"/>
              <a:cs typeface="Arial"/>
              <a:sym typeface="Arial"/>
            </a:endParaRPr>
          </a:p>
        </p:txBody>
      </p:sp>
      <p:sp>
        <p:nvSpPr>
          <p:cNvPr id="134" name="Google Shape;134;p2"/>
          <p:cNvSpPr/>
          <p:nvPr/>
        </p:nvSpPr>
        <p:spPr>
          <a:xfrm>
            <a:off x="6146944" y="1559738"/>
            <a:ext cx="3116559"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DOCUMENTS AND PUBLICATIONS</a:t>
            </a:r>
            <a:endParaRPr sz="1400" b="0" i="0" u="none" strike="noStrike" cap="none">
              <a:solidFill>
                <a:srgbClr val="000000"/>
              </a:solidFill>
              <a:latin typeface="Arial"/>
              <a:ea typeface="Arial"/>
              <a:cs typeface="Arial"/>
              <a:sym typeface="Arial"/>
            </a:endParaRPr>
          </a:p>
        </p:txBody>
      </p:sp>
      <p:cxnSp>
        <p:nvCxnSpPr>
          <p:cNvPr id="135" name="Google Shape;135;p2"/>
          <p:cNvCxnSpPr>
            <a:cxnSpLocks/>
          </p:cNvCxnSpPr>
          <p:nvPr/>
        </p:nvCxnSpPr>
        <p:spPr>
          <a:xfrm>
            <a:off x="9263503" y="1726227"/>
            <a:ext cx="2128200" cy="0"/>
          </a:xfrm>
          <a:prstGeom prst="straightConnector1">
            <a:avLst/>
          </a:prstGeom>
          <a:noFill/>
          <a:ln w="9525" cap="flat" cmpd="sng">
            <a:solidFill>
              <a:schemeClr val="accent1"/>
            </a:solidFill>
            <a:prstDash val="solid"/>
            <a:miter lim="800000"/>
            <a:headEnd type="none" w="sm" len="sm"/>
            <a:tailEnd type="none" w="sm" len="sm"/>
          </a:ln>
        </p:spPr>
      </p:cxnSp>
      <p:sp>
        <p:nvSpPr>
          <p:cNvPr id="105" name="Google Shape;105;p2"/>
          <p:cNvSpPr txBox="1"/>
          <p:nvPr/>
        </p:nvSpPr>
        <p:spPr>
          <a:xfrm>
            <a:off x="4892408" y="5559445"/>
            <a:ext cx="501725" cy="307736"/>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Poppins"/>
                <a:ea typeface="Arial"/>
                <a:cs typeface="Poppins"/>
                <a:sym typeface="Poppins"/>
              </a:rPr>
              <a:t>28</a:t>
            </a:r>
            <a:endParaRPr sz="1400" b="0" i="0" u="none" strike="noStrike" cap="none" dirty="0">
              <a:solidFill>
                <a:srgbClr val="000000"/>
              </a:solidFill>
              <a:latin typeface="Arial"/>
              <a:ea typeface="Arial"/>
              <a:cs typeface="Arial"/>
              <a:sym typeface="Arial"/>
            </a:endParaRPr>
          </a:p>
        </p:txBody>
      </p:sp>
      <p:sp>
        <p:nvSpPr>
          <p:cNvPr id="104" name="Google Shape;104;p2"/>
          <p:cNvSpPr/>
          <p:nvPr/>
        </p:nvSpPr>
        <p:spPr>
          <a:xfrm>
            <a:off x="675044" y="5551984"/>
            <a:ext cx="4123245"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THE ROUTE TO SIGNING THE ARRANGEMENTS</a:t>
            </a:r>
            <a:endParaRPr sz="1400" b="0" i="0" u="none" strike="noStrike" cap="none">
              <a:solidFill>
                <a:srgbClr val="000000"/>
              </a:solidFill>
              <a:latin typeface="Arial"/>
              <a:ea typeface="Arial"/>
              <a:cs typeface="Arial"/>
              <a:sym typeface="Arial"/>
            </a:endParaRPr>
          </a:p>
        </p:txBody>
      </p:sp>
      <p:cxnSp>
        <p:nvCxnSpPr>
          <p:cNvPr id="3" name="Google Shape;114;p2">
            <a:extLst>
              <a:ext uri="{FF2B5EF4-FFF2-40B4-BE49-F238E27FC236}">
                <a16:creationId xmlns:a16="http://schemas.microsoft.com/office/drawing/2014/main" id="{9700F0A6-50F2-A9A4-52FD-5F18C724370B}"/>
              </a:ext>
            </a:extLst>
          </p:cNvPr>
          <p:cNvCxnSpPr>
            <a:cxnSpLocks/>
            <a:endCxn id="101" idx="1"/>
          </p:cNvCxnSpPr>
          <p:nvPr/>
        </p:nvCxnSpPr>
        <p:spPr>
          <a:xfrm>
            <a:off x="3646456" y="5123835"/>
            <a:ext cx="1294676" cy="745"/>
          </a:xfrm>
          <a:prstGeom prst="straightConnector1">
            <a:avLst/>
          </a:prstGeom>
          <a:noFill/>
          <a:ln w="9525" cap="flat" cmpd="sng">
            <a:solidFill>
              <a:schemeClr val="accent1"/>
            </a:solidFill>
            <a:prstDash val="solid"/>
            <a:miter lim="800000"/>
            <a:headEnd type="none" w="sm" len="sm"/>
            <a:tailEnd type="none" w="sm" len="sm"/>
          </a:ln>
        </p:spPr>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276"/>
        <p:cNvGrpSpPr/>
        <p:nvPr/>
      </p:nvGrpSpPr>
      <p:grpSpPr>
        <a:xfrm>
          <a:off x="0" y="0"/>
          <a:ext cx="0" cy="0"/>
          <a:chOff x="0" y="0"/>
          <a:chExt cx="0" cy="0"/>
        </a:xfrm>
      </p:grpSpPr>
      <p:sp>
        <p:nvSpPr>
          <p:cNvPr id="1277" name="Google Shape;1277;p21"/>
          <p:cNvSpPr txBox="1"/>
          <p:nvPr/>
        </p:nvSpPr>
        <p:spPr>
          <a:xfrm>
            <a:off x="1038557" y="3000745"/>
            <a:ext cx="973023"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Etty Feller</a:t>
            </a:r>
            <a:endParaRPr sz="1400" b="0" i="0" u="none" strike="noStrike" cap="none">
              <a:solidFill>
                <a:srgbClr val="000000"/>
              </a:solidFill>
              <a:latin typeface="Arial"/>
              <a:ea typeface="Arial"/>
              <a:cs typeface="Arial"/>
              <a:sym typeface="Arial"/>
            </a:endParaRPr>
          </a:p>
        </p:txBody>
      </p:sp>
      <p:sp>
        <p:nvSpPr>
          <p:cNvPr id="1278" name="Google Shape;1278;p21"/>
          <p:cNvSpPr txBox="1"/>
          <p:nvPr/>
        </p:nvSpPr>
        <p:spPr>
          <a:xfrm>
            <a:off x="610171"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Chair</a:t>
            </a:r>
            <a:endParaRPr sz="1400" b="0" i="0" u="none" strike="noStrike" cap="none">
              <a:solidFill>
                <a:srgbClr val="000000"/>
              </a:solidFill>
              <a:latin typeface="Arial"/>
              <a:ea typeface="Arial"/>
              <a:cs typeface="Arial"/>
              <a:sym typeface="Arial"/>
            </a:endParaRPr>
          </a:p>
        </p:txBody>
      </p:sp>
      <p:sp>
        <p:nvSpPr>
          <p:cNvPr id="1279" name="Google Shape;1279;p21"/>
          <p:cNvSpPr txBox="1"/>
          <p:nvPr/>
        </p:nvSpPr>
        <p:spPr>
          <a:xfrm>
            <a:off x="3184102" y="3000745"/>
            <a:ext cx="125835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Maribel Lopez</a:t>
            </a:r>
            <a:endParaRPr sz="1400" b="0" i="0" u="none" strike="noStrike" cap="none">
              <a:solidFill>
                <a:srgbClr val="000000"/>
              </a:solidFill>
              <a:latin typeface="Arial"/>
              <a:ea typeface="Arial"/>
              <a:cs typeface="Arial"/>
              <a:sym typeface="Arial"/>
            </a:endParaRPr>
          </a:p>
        </p:txBody>
      </p:sp>
      <p:sp>
        <p:nvSpPr>
          <p:cNvPr id="1280" name="Google Shape;1280;p21"/>
          <p:cNvSpPr txBox="1"/>
          <p:nvPr/>
        </p:nvSpPr>
        <p:spPr>
          <a:xfrm>
            <a:off x="2898380"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Vice Chair</a:t>
            </a:r>
            <a:endParaRPr sz="1400" b="0" i="0" u="none" strike="noStrike" cap="none">
              <a:solidFill>
                <a:srgbClr val="000000"/>
              </a:solidFill>
              <a:latin typeface="Arial"/>
              <a:ea typeface="Arial"/>
              <a:cs typeface="Arial"/>
              <a:sym typeface="Arial"/>
            </a:endParaRPr>
          </a:p>
        </p:txBody>
      </p:sp>
      <p:sp>
        <p:nvSpPr>
          <p:cNvPr id="1281" name="Google Shape;1281;p21"/>
          <p:cNvSpPr txBox="1"/>
          <p:nvPr/>
        </p:nvSpPr>
        <p:spPr>
          <a:xfrm>
            <a:off x="5480358" y="3000745"/>
            <a:ext cx="1277594"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err="1">
                <a:solidFill>
                  <a:schemeClr val="dk1"/>
                </a:solidFill>
                <a:latin typeface="Raleway"/>
                <a:ea typeface="Raleway"/>
                <a:cs typeface="Raleway"/>
                <a:sym typeface="Raleway"/>
              </a:rPr>
              <a:t>Mr</a:t>
            </a:r>
            <a:r>
              <a:rPr lang="en-US" sz="1200" b="0" i="0" u="none" strike="noStrike" cap="none">
                <a:solidFill>
                  <a:schemeClr val="dk1"/>
                </a:solidFill>
                <a:latin typeface="Raleway"/>
                <a:ea typeface="Raleway"/>
                <a:cs typeface="Raleway"/>
                <a:sym typeface="Raleway"/>
              </a:rPr>
              <a:t> Michael Fraser</a:t>
            </a:r>
            <a:endParaRPr sz="1400" b="0" i="0" u="none" strike="noStrike" cap="none">
              <a:solidFill>
                <a:srgbClr val="000000"/>
              </a:solidFill>
              <a:latin typeface="Arial"/>
              <a:ea typeface="Arial"/>
              <a:cs typeface="Arial"/>
              <a:sym typeface="Arial"/>
            </a:endParaRPr>
          </a:p>
        </p:txBody>
      </p:sp>
      <p:sp>
        <p:nvSpPr>
          <p:cNvPr id="1282" name="Google Shape;1282;p21"/>
          <p:cNvSpPr txBox="1"/>
          <p:nvPr/>
        </p:nvSpPr>
        <p:spPr>
          <a:xfrm>
            <a:off x="5204258"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LAC Secretary</a:t>
            </a:r>
            <a:endParaRPr sz="1400" b="0" i="0" u="none" strike="noStrike" cap="none">
              <a:solidFill>
                <a:srgbClr val="000000"/>
              </a:solidFill>
              <a:latin typeface="Arial"/>
              <a:ea typeface="Arial"/>
              <a:cs typeface="Arial"/>
              <a:sym typeface="Arial"/>
            </a:endParaRPr>
          </a:p>
        </p:txBody>
      </p:sp>
      <p:sp>
        <p:nvSpPr>
          <p:cNvPr id="1283" name="Google Shape;1283;p21"/>
          <p:cNvSpPr txBox="1"/>
          <p:nvPr/>
        </p:nvSpPr>
        <p:spPr>
          <a:xfrm>
            <a:off x="7790655" y="3000745"/>
            <a:ext cx="1466210"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Trace McInturff</a:t>
            </a:r>
            <a:endParaRPr sz="1400" b="0" i="0" u="none" strike="noStrike" cap="none">
              <a:solidFill>
                <a:srgbClr val="000000"/>
              </a:solidFill>
              <a:latin typeface="Arial"/>
              <a:ea typeface="Arial"/>
              <a:cs typeface="Arial"/>
              <a:sym typeface="Arial"/>
            </a:endParaRPr>
          </a:p>
        </p:txBody>
      </p:sp>
      <p:sp>
        <p:nvSpPr>
          <p:cNvPr id="1284" name="Google Shape;1284;p21"/>
          <p:cNvSpPr txBox="1"/>
          <p:nvPr/>
        </p:nvSpPr>
        <p:spPr>
          <a:xfrm>
            <a:off x="7514553"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MC Chair</a:t>
            </a:r>
            <a:endParaRPr sz="1400" b="0" i="0" u="none" strike="noStrike" cap="none">
              <a:solidFill>
                <a:srgbClr val="000000"/>
              </a:solidFill>
              <a:latin typeface="Arial"/>
              <a:ea typeface="Arial"/>
              <a:cs typeface="Arial"/>
              <a:sym typeface="Arial"/>
            </a:endParaRPr>
          </a:p>
        </p:txBody>
      </p:sp>
      <p:sp>
        <p:nvSpPr>
          <p:cNvPr id="1285" name="Google Shape;1285;p21"/>
          <p:cNvSpPr txBox="1"/>
          <p:nvPr/>
        </p:nvSpPr>
        <p:spPr>
          <a:xfrm>
            <a:off x="809676" y="5652305"/>
            <a:ext cx="1488295"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Dana Leaman</a:t>
            </a:r>
            <a:endParaRPr sz="1400" b="0" i="0" u="none" strike="noStrike" cap="none">
              <a:solidFill>
                <a:srgbClr val="000000"/>
              </a:solidFill>
              <a:latin typeface="Arial"/>
              <a:ea typeface="Arial"/>
              <a:cs typeface="Arial"/>
              <a:sym typeface="Arial"/>
            </a:endParaRPr>
          </a:p>
        </p:txBody>
      </p:sp>
      <p:sp>
        <p:nvSpPr>
          <p:cNvPr id="1286" name="Google Shape;1286;p21"/>
          <p:cNvSpPr txBox="1"/>
          <p:nvPr/>
        </p:nvSpPr>
        <p:spPr>
          <a:xfrm>
            <a:off x="610171"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RC Chair</a:t>
            </a:r>
            <a:endParaRPr sz="1400" b="0" i="0" u="none" strike="noStrike" cap="none">
              <a:solidFill>
                <a:srgbClr val="000000"/>
              </a:solidFill>
              <a:latin typeface="Arial"/>
              <a:ea typeface="Arial"/>
              <a:cs typeface="Arial"/>
              <a:sym typeface="Arial"/>
            </a:endParaRPr>
          </a:p>
        </p:txBody>
      </p:sp>
      <p:sp>
        <p:nvSpPr>
          <p:cNvPr id="1287" name="Google Shape;1287;p21"/>
          <p:cNvSpPr txBox="1"/>
          <p:nvPr/>
        </p:nvSpPr>
        <p:spPr>
          <a:xfrm>
            <a:off x="2749338" y="5651009"/>
            <a:ext cx="2195400"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Natarajan </a:t>
            </a:r>
            <a:r>
              <a:rPr lang="en-US" sz="1200" b="0" i="0" u="none" strike="noStrike" cap="none" err="1">
                <a:solidFill>
                  <a:schemeClr val="dk1"/>
                </a:solidFill>
                <a:latin typeface="Raleway"/>
                <a:ea typeface="Raleway"/>
                <a:cs typeface="Raleway"/>
                <a:sym typeface="Raleway"/>
              </a:rPr>
              <a:t>Venkateswaran</a:t>
            </a:r>
            <a:endParaRPr lang="en-US" sz="1200" b="0" i="0" u="none" strike="noStrike" cap="none">
              <a:solidFill>
                <a:schemeClr val="dk1"/>
              </a:solidFill>
              <a:latin typeface="Raleway"/>
              <a:ea typeface="Raleway"/>
              <a:cs typeface="Raleway"/>
              <a:sym typeface="Raleway"/>
            </a:endParaRPr>
          </a:p>
        </p:txBody>
      </p:sp>
      <p:sp>
        <p:nvSpPr>
          <p:cNvPr id="1288" name="Google Shape;1288;p21"/>
          <p:cNvSpPr txBox="1"/>
          <p:nvPr/>
        </p:nvSpPr>
        <p:spPr>
          <a:xfrm>
            <a:off x="2898380"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IC Chair</a:t>
            </a:r>
            <a:endParaRPr sz="1400" b="0" i="0" u="none" strike="noStrike" cap="none">
              <a:solidFill>
                <a:srgbClr val="000000"/>
              </a:solidFill>
              <a:latin typeface="Arial"/>
              <a:ea typeface="Arial"/>
              <a:cs typeface="Arial"/>
              <a:sym typeface="Arial"/>
            </a:endParaRPr>
          </a:p>
        </p:txBody>
      </p:sp>
      <p:sp>
        <p:nvSpPr>
          <p:cNvPr id="1289" name="Google Shape;1289;p21"/>
          <p:cNvSpPr txBox="1"/>
          <p:nvPr/>
        </p:nvSpPr>
        <p:spPr>
          <a:xfrm>
            <a:off x="5371362" y="5637928"/>
            <a:ext cx="1495601"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Verónica Ramirez</a:t>
            </a:r>
            <a:endParaRPr sz="1400" b="0" i="0" u="none" strike="noStrike" cap="none">
              <a:solidFill>
                <a:srgbClr val="000000"/>
              </a:solidFill>
              <a:latin typeface="Arial"/>
              <a:ea typeface="Arial"/>
              <a:cs typeface="Arial"/>
              <a:sym typeface="Arial"/>
            </a:endParaRPr>
          </a:p>
        </p:txBody>
      </p:sp>
      <p:sp>
        <p:nvSpPr>
          <p:cNvPr id="1290" name="Google Shape;1290;p21"/>
          <p:cNvSpPr txBox="1"/>
          <p:nvPr/>
        </p:nvSpPr>
        <p:spPr>
          <a:xfrm>
            <a:off x="5204258"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MCC Chair</a:t>
            </a:r>
            <a:endParaRPr sz="1400" b="0" i="0" u="none" strike="noStrike" cap="none">
              <a:solidFill>
                <a:srgbClr val="000000"/>
              </a:solidFill>
              <a:latin typeface="Arial"/>
              <a:ea typeface="Arial"/>
              <a:cs typeface="Arial"/>
              <a:sym typeface="Arial"/>
            </a:endParaRPr>
          </a:p>
        </p:txBody>
      </p:sp>
      <p:sp>
        <p:nvSpPr>
          <p:cNvPr id="1291" name="Google Shape;1291;p21"/>
          <p:cNvSpPr txBox="1"/>
          <p:nvPr/>
        </p:nvSpPr>
        <p:spPr>
          <a:xfrm>
            <a:off x="7672837" y="5650218"/>
            <a:ext cx="1783620" cy="276959"/>
          </a:xfrm>
          <a:prstGeom prst="rect">
            <a:avLst/>
          </a:prstGeom>
          <a:noFill/>
          <a:ln>
            <a:noFill/>
          </a:ln>
        </p:spPr>
        <p:txBody>
          <a:bodyPr spcFirstLastPara="1" wrap="square" lIns="0" tIns="45700" rIns="0" bIns="45700" anchor="t" anchorCtr="0">
            <a:spAutoFit/>
          </a:bodyPr>
          <a:lstStyle/>
          <a:p>
            <a:pPr algn="ctr">
              <a:buSzPts val="1200"/>
            </a:pPr>
            <a:r>
              <a:rPr lang="en-US" sz="1200" b="0" i="0" u="none" strike="noStrike" cap="none" err="1">
                <a:solidFill>
                  <a:schemeClr val="dk1"/>
                </a:solidFill>
                <a:latin typeface="Raleway"/>
                <a:ea typeface="Raleway"/>
                <a:cs typeface="Raleway"/>
                <a:sym typeface="Raleway"/>
              </a:rPr>
              <a:t>Ms</a:t>
            </a:r>
            <a:r>
              <a:rPr lang="en-US" sz="1200" b="0" i="0" u="none" strike="noStrike" cap="none">
                <a:solidFill>
                  <a:schemeClr val="dk1"/>
                </a:solidFill>
                <a:latin typeface="Raleway"/>
                <a:ea typeface="Raleway"/>
                <a:cs typeface="Raleway"/>
                <a:sym typeface="Raleway"/>
              </a:rPr>
              <a:t> </a:t>
            </a:r>
            <a:r>
              <a:rPr lang="en-US" sz="1200">
                <a:solidFill>
                  <a:schemeClr val="dk1"/>
                </a:solidFill>
                <a:ea typeface="Raleway"/>
                <a:sym typeface="Raleway"/>
              </a:rPr>
              <a:t>María Paola </a:t>
            </a:r>
            <a:r>
              <a:rPr lang="en-US" sz="1200" err="1">
                <a:solidFill>
                  <a:schemeClr val="dk1"/>
                </a:solidFill>
                <a:ea typeface="Raleway"/>
                <a:sym typeface="Raleway"/>
              </a:rPr>
              <a:t>Mársico</a:t>
            </a:r>
            <a:endParaRPr lang="en-US" sz="1200" b="0" i="0" u="none" strike="noStrike" cap="none" err="1">
              <a:solidFill>
                <a:schemeClr val="dk1"/>
              </a:solidFill>
              <a:latin typeface="Raleway"/>
            </a:endParaRPr>
          </a:p>
        </p:txBody>
      </p:sp>
      <p:sp>
        <p:nvSpPr>
          <p:cNvPr id="1292" name="Google Shape;1292;p21"/>
          <p:cNvSpPr txBox="1"/>
          <p:nvPr/>
        </p:nvSpPr>
        <p:spPr>
          <a:xfrm>
            <a:off x="7514553"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JDSC Chair</a:t>
            </a:r>
            <a:endParaRPr sz="1400" b="0" i="0" u="none" strike="noStrike" cap="none">
              <a:solidFill>
                <a:srgbClr val="000000"/>
              </a:solidFill>
              <a:latin typeface="Arial"/>
              <a:ea typeface="Arial"/>
              <a:cs typeface="Arial"/>
              <a:sym typeface="Arial"/>
            </a:endParaRPr>
          </a:p>
        </p:txBody>
      </p:sp>
      <p:pic>
        <p:nvPicPr>
          <p:cNvPr id="1293" name="Google Shape;1293;p21" descr="A person in a red shirt&#10;&#10;Description automatically generated with low confidence"/>
          <p:cNvPicPr preferRelativeResize="0">
            <a:picLocks noGrp="1"/>
          </p:cNvPicPr>
          <p:nvPr>
            <p:ph type="pic" idx="2"/>
          </p:nvPr>
        </p:nvPicPr>
        <p:blipFill rotWithShape="1">
          <a:blip r:embed="rId3">
            <a:alphaModFix/>
          </a:blip>
          <a:srcRect l="48" t="3792" r="-46" b="29582"/>
          <a:stretch/>
        </p:blipFill>
        <p:spPr>
          <a:xfrm>
            <a:off x="782638" y="1433513"/>
            <a:ext cx="1485900" cy="1485900"/>
          </a:xfrm>
          <a:prstGeom prst="ellipse">
            <a:avLst/>
          </a:prstGeom>
          <a:noFill/>
          <a:ln>
            <a:noFill/>
          </a:ln>
        </p:spPr>
      </p:pic>
      <p:pic>
        <p:nvPicPr>
          <p:cNvPr id="1294" name="Google Shape;1294;p21" descr="A person smiling for the camera&#10;&#10;Description automatically generated with low confidence"/>
          <p:cNvPicPr preferRelativeResize="0">
            <a:picLocks noGrp="1"/>
          </p:cNvPicPr>
          <p:nvPr>
            <p:ph type="pic" idx="3"/>
          </p:nvPr>
        </p:nvPicPr>
        <p:blipFill rotWithShape="1">
          <a:blip r:embed="rId4">
            <a:alphaModFix/>
          </a:blip>
          <a:srcRect t="1089" b="1089"/>
          <a:stretch/>
        </p:blipFill>
        <p:spPr>
          <a:xfrm>
            <a:off x="3070225" y="1433513"/>
            <a:ext cx="1485900" cy="1485900"/>
          </a:xfrm>
          <a:prstGeom prst="ellipse">
            <a:avLst/>
          </a:prstGeom>
          <a:noFill/>
          <a:ln>
            <a:noFill/>
          </a:ln>
        </p:spPr>
      </p:pic>
      <p:pic>
        <p:nvPicPr>
          <p:cNvPr id="1295" name="Google Shape;1295;p21"/>
          <p:cNvPicPr preferRelativeResize="0">
            <a:picLocks noGrp="1"/>
          </p:cNvPicPr>
          <p:nvPr>
            <p:ph type="pic" idx="4"/>
          </p:nvPr>
        </p:nvPicPr>
        <p:blipFill rotWithShape="1">
          <a:blip r:embed="rId5"/>
          <a:srcRect/>
          <a:stretch/>
        </p:blipFill>
        <p:spPr>
          <a:xfrm>
            <a:off x="5376007" y="1433793"/>
            <a:ext cx="1486200" cy="1486200"/>
          </a:xfrm>
          <a:prstGeom prst="ellipse">
            <a:avLst/>
          </a:prstGeom>
          <a:noFill/>
          <a:ln>
            <a:noFill/>
          </a:ln>
        </p:spPr>
      </p:pic>
      <p:pic>
        <p:nvPicPr>
          <p:cNvPr id="1298" name="Google Shape;1298;p21" descr="A person smiling for the camera&#10;&#10;Description automatically generated with medium confidence"/>
          <p:cNvPicPr preferRelativeResize="0">
            <a:picLocks noGrp="1"/>
          </p:cNvPicPr>
          <p:nvPr>
            <p:ph type="pic" idx="7"/>
          </p:nvPr>
        </p:nvPicPr>
        <p:blipFill rotWithShape="1">
          <a:blip r:embed="rId6">
            <a:alphaModFix/>
          </a:blip>
          <a:srcRect l="-9" t="687" r="9" b="23838"/>
          <a:stretch/>
        </p:blipFill>
        <p:spPr>
          <a:xfrm>
            <a:off x="5375275" y="4057650"/>
            <a:ext cx="1487488" cy="1485900"/>
          </a:xfrm>
          <a:prstGeom prst="ellipse">
            <a:avLst/>
          </a:prstGeom>
          <a:noFill/>
          <a:ln>
            <a:noFill/>
          </a:ln>
        </p:spPr>
      </p:pic>
      <p:pic>
        <p:nvPicPr>
          <p:cNvPr id="1300" name="Google Shape;1300;p21" descr="A picture containing person&#10;&#10;Description automatically generated"/>
          <p:cNvPicPr preferRelativeResize="0">
            <a:picLocks noGrp="1"/>
          </p:cNvPicPr>
          <p:nvPr>
            <p:ph type="pic" idx="9"/>
          </p:nvPr>
        </p:nvPicPr>
        <p:blipFill rotWithShape="1">
          <a:blip r:embed="rId7">
            <a:alphaModFix/>
          </a:blip>
          <a:srcRect l="1057" r="1055"/>
          <a:stretch/>
        </p:blipFill>
        <p:spPr>
          <a:xfrm>
            <a:off x="782638" y="4057650"/>
            <a:ext cx="1485900" cy="1485900"/>
          </a:xfrm>
          <a:prstGeom prst="ellipse">
            <a:avLst/>
          </a:prstGeom>
          <a:noFill/>
          <a:ln>
            <a:noFill/>
          </a:ln>
        </p:spPr>
      </p:pic>
      <p:pic>
        <p:nvPicPr>
          <p:cNvPr id="1301" name="Google Shape;1301;p21" descr="A person in a suit and tie&#10;&#10;Description automatically generated with medium confidence"/>
          <p:cNvPicPr preferRelativeResize="0">
            <a:picLocks noGrp="1"/>
          </p:cNvPicPr>
          <p:nvPr>
            <p:ph type="pic" idx="13"/>
          </p:nvPr>
        </p:nvPicPr>
        <p:blipFill rotWithShape="1">
          <a:blip r:embed="rId8">
            <a:alphaModFix/>
          </a:blip>
          <a:srcRect l="3" t="4076" r="-1" b="24496"/>
          <a:stretch/>
        </p:blipFill>
        <p:spPr>
          <a:xfrm>
            <a:off x="9913938" y="1433513"/>
            <a:ext cx="1485900" cy="1485900"/>
          </a:xfrm>
          <a:prstGeom prst="ellipse">
            <a:avLst/>
          </a:prstGeom>
          <a:noFill/>
          <a:ln>
            <a:noFill/>
          </a:ln>
        </p:spPr>
      </p:pic>
      <p:pic>
        <p:nvPicPr>
          <p:cNvPr id="1302" name="Google Shape;1302;p21" descr="A close-up of a person smiling&#10;&#10;Description automatically generated"/>
          <p:cNvPicPr preferRelativeResize="0">
            <a:picLocks noGrp="1"/>
          </p:cNvPicPr>
          <p:nvPr>
            <p:ph type="pic" idx="14"/>
          </p:nvPr>
        </p:nvPicPr>
        <p:blipFill rotWithShape="1">
          <a:blip r:embed="rId9">
            <a:alphaModFix/>
          </a:blip>
          <a:srcRect/>
          <a:stretch/>
        </p:blipFill>
        <p:spPr>
          <a:xfrm>
            <a:off x="9913938" y="4057650"/>
            <a:ext cx="1485900" cy="1485900"/>
          </a:xfrm>
          <a:prstGeom prst="ellipse">
            <a:avLst/>
          </a:prstGeom>
          <a:noFill/>
          <a:ln>
            <a:noFill/>
          </a:ln>
        </p:spPr>
      </p:pic>
      <p:sp>
        <p:nvSpPr>
          <p:cNvPr id="1303" name="Google Shape;1303;p21"/>
          <p:cNvSpPr txBox="1"/>
          <p:nvPr/>
        </p:nvSpPr>
        <p:spPr>
          <a:xfrm>
            <a:off x="10227447" y="3000745"/>
            <a:ext cx="859210"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Jeff Gust</a:t>
            </a:r>
            <a:endParaRPr sz="1400" b="0" i="0" u="none" strike="noStrike" cap="none">
              <a:solidFill>
                <a:srgbClr val="000000"/>
              </a:solidFill>
              <a:latin typeface="Arial"/>
              <a:ea typeface="Arial"/>
              <a:cs typeface="Arial"/>
              <a:sym typeface="Arial"/>
            </a:endParaRPr>
          </a:p>
        </p:txBody>
      </p:sp>
      <p:sp>
        <p:nvSpPr>
          <p:cNvPr id="1304" name="Google Shape;1304;p21"/>
          <p:cNvSpPr txBox="1"/>
          <p:nvPr/>
        </p:nvSpPr>
        <p:spPr>
          <a:xfrm>
            <a:off x="9742151" y="3243714"/>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Stakeholder Forum Chair</a:t>
            </a:r>
            <a:endParaRPr sz="1400" b="0" i="0" u="none" strike="noStrike" cap="none">
              <a:solidFill>
                <a:srgbClr val="000000"/>
              </a:solidFill>
              <a:latin typeface="Arial"/>
              <a:ea typeface="Arial"/>
              <a:cs typeface="Arial"/>
              <a:sym typeface="Arial"/>
            </a:endParaRPr>
          </a:p>
        </p:txBody>
      </p:sp>
      <p:sp>
        <p:nvSpPr>
          <p:cNvPr id="1305" name="Google Shape;1305;p21"/>
          <p:cNvSpPr txBox="1"/>
          <p:nvPr/>
        </p:nvSpPr>
        <p:spPr>
          <a:xfrm>
            <a:off x="9983791" y="5637928"/>
            <a:ext cx="1346523"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Lorraine Turner</a:t>
            </a:r>
            <a:endParaRPr sz="1400" b="0" i="0" u="none" strike="noStrike" cap="none">
              <a:solidFill>
                <a:srgbClr val="000000"/>
              </a:solidFill>
              <a:latin typeface="Arial"/>
              <a:ea typeface="Arial"/>
              <a:cs typeface="Arial"/>
              <a:sym typeface="Arial"/>
            </a:endParaRPr>
          </a:p>
        </p:txBody>
      </p:sp>
      <p:sp>
        <p:nvSpPr>
          <p:cNvPr id="1306" name="Google Shape;1306;p21"/>
          <p:cNvSpPr txBox="1"/>
          <p:nvPr/>
        </p:nvSpPr>
        <p:spPr>
          <a:xfrm>
            <a:off x="9742151"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nspection Committee Chair</a:t>
            </a:r>
            <a:endParaRPr sz="1400" b="0" i="0" u="none" strike="noStrike" cap="none">
              <a:solidFill>
                <a:srgbClr val="000000"/>
              </a:solidFill>
              <a:latin typeface="Arial"/>
              <a:ea typeface="Arial"/>
              <a:cs typeface="Arial"/>
              <a:sym typeface="Arial"/>
            </a:endParaRPr>
          </a:p>
        </p:txBody>
      </p:sp>
      <p:sp>
        <p:nvSpPr>
          <p:cNvPr id="1307" name="Google Shape;1307;p21"/>
          <p:cNvSpPr txBox="1"/>
          <p:nvPr/>
        </p:nvSpPr>
        <p:spPr>
          <a:xfrm>
            <a:off x="479232" y="396930"/>
            <a:ext cx="454021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rgbClr val="000000"/>
              </a:solidFill>
              <a:latin typeface="Arial"/>
              <a:ea typeface="Arial"/>
              <a:cs typeface="Arial"/>
              <a:sym typeface="Arial"/>
            </a:endParaRPr>
          </a:p>
        </p:txBody>
      </p:sp>
      <p:cxnSp>
        <p:nvCxnSpPr>
          <p:cNvPr id="1308" name="Google Shape;1308;p21"/>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4" name="Google Shape;1330;p22" descr="A person in a suit&#10;&#10;Description automatically generated with low confidence">
            <a:extLst>
              <a:ext uri="{FF2B5EF4-FFF2-40B4-BE49-F238E27FC236}">
                <a16:creationId xmlns:a16="http://schemas.microsoft.com/office/drawing/2014/main" id="{84CB3EAB-DD19-95D4-CB71-60890B413026}"/>
              </a:ext>
            </a:extLst>
          </p:cNvPr>
          <p:cNvPicPr preferRelativeResize="0">
            <a:picLocks noGrp="1"/>
          </p:cNvPicPr>
          <p:nvPr>
            <p:ph type="pic" idx="5"/>
          </p:nvPr>
        </p:nvPicPr>
        <p:blipFill rotWithShape="1">
          <a:blip r:embed="rId10">
            <a:alphaModFix/>
          </a:blip>
          <a:srcRect t="16597" b="16597"/>
          <a:stretch/>
        </p:blipFill>
        <p:spPr>
          <a:xfrm>
            <a:off x="7686675" y="1467656"/>
            <a:ext cx="1485900" cy="1485900"/>
          </a:xfrm>
          <a:prstGeom prst="ellipse">
            <a:avLst/>
          </a:prstGeom>
          <a:noFill/>
          <a:ln>
            <a:noFill/>
          </a:ln>
        </p:spPr>
      </p:pic>
      <p:pic>
        <p:nvPicPr>
          <p:cNvPr id="10" name="Picture Placeholder 9" descr="A person with a mustache smiling&#10;&#10;Description automatically generated">
            <a:extLst>
              <a:ext uri="{FF2B5EF4-FFF2-40B4-BE49-F238E27FC236}">
                <a16:creationId xmlns:a16="http://schemas.microsoft.com/office/drawing/2014/main" id="{76BA56C2-9A5E-AFA6-EFE9-04ABCA67F3A6}"/>
              </a:ext>
            </a:extLst>
          </p:cNvPr>
          <p:cNvPicPr>
            <a:picLocks noGrp="1" noChangeAspect="1"/>
          </p:cNvPicPr>
          <p:nvPr>
            <p:ph type="pic" idx="8"/>
          </p:nvPr>
        </p:nvPicPr>
        <p:blipFill>
          <a:blip r:embed="rId11"/>
          <a:srcRect/>
          <a:stretch>
            <a:fillRect/>
          </a:stretch>
        </p:blipFill>
        <p:spPr>
          <a:xfrm>
            <a:off x="3009901" y="4049771"/>
            <a:ext cx="1486294" cy="1486294"/>
          </a:xfrm>
        </p:spPr>
      </p:pic>
      <p:pic>
        <p:nvPicPr>
          <p:cNvPr id="5" name="Picture Placeholder 4" descr="A person smiling at camera&#10;&#10;Description automatically generated">
            <a:extLst>
              <a:ext uri="{FF2B5EF4-FFF2-40B4-BE49-F238E27FC236}">
                <a16:creationId xmlns:a16="http://schemas.microsoft.com/office/drawing/2014/main" id="{BB26586E-0B6A-85B0-F014-1A32F3E19136}"/>
              </a:ext>
            </a:extLst>
          </p:cNvPr>
          <p:cNvPicPr>
            <a:picLocks noGrp="1" noChangeAspect="1"/>
          </p:cNvPicPr>
          <p:nvPr>
            <p:ph type="pic" idx="6"/>
          </p:nvPr>
        </p:nvPicPr>
        <p:blipFill>
          <a:blip r:embed="rId12"/>
          <a:srcRect l="9934" t="-885" r="14570" b="885"/>
          <a:stretch/>
        </p:blipFill>
        <p:spPr>
          <a:xfrm rot="5400000">
            <a:off x="7662288" y="4044868"/>
            <a:ext cx="1495746" cy="1485902"/>
          </a:xfr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312"/>
        <p:cNvGrpSpPr/>
        <p:nvPr/>
      </p:nvGrpSpPr>
      <p:grpSpPr>
        <a:xfrm>
          <a:off x="0" y="0"/>
          <a:ext cx="0" cy="0"/>
          <a:chOff x="0" y="0"/>
          <a:chExt cx="0" cy="0"/>
        </a:xfrm>
      </p:grpSpPr>
      <p:sp>
        <p:nvSpPr>
          <p:cNvPr id="1313" name="Google Shape;1313;p22"/>
          <p:cNvSpPr txBox="1"/>
          <p:nvPr/>
        </p:nvSpPr>
        <p:spPr>
          <a:xfrm>
            <a:off x="1741473" y="3030318"/>
            <a:ext cx="2164054"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Amina Ahmed Mohammed</a:t>
            </a:r>
            <a:endParaRPr sz="1400" b="0" i="0" u="none" strike="noStrike" cap="none">
              <a:solidFill>
                <a:srgbClr val="000000"/>
              </a:solidFill>
              <a:latin typeface="Arial"/>
              <a:ea typeface="Arial"/>
              <a:cs typeface="Arial"/>
              <a:sym typeface="Arial"/>
            </a:endParaRPr>
          </a:p>
        </p:txBody>
      </p:sp>
      <p:sp>
        <p:nvSpPr>
          <p:cNvPr id="1314" name="Google Shape;1314;p22"/>
          <p:cNvSpPr txBox="1"/>
          <p:nvPr/>
        </p:nvSpPr>
        <p:spPr>
          <a:xfrm>
            <a:off x="1908602" y="327328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RAC Representative</a:t>
            </a:r>
            <a:endParaRPr sz="1400" b="0" i="0" u="none" strike="noStrike" cap="none">
              <a:solidFill>
                <a:srgbClr val="000000"/>
              </a:solidFill>
              <a:latin typeface="Arial"/>
              <a:ea typeface="Arial"/>
              <a:cs typeface="Arial"/>
              <a:sym typeface="Arial"/>
            </a:endParaRPr>
          </a:p>
        </p:txBody>
      </p:sp>
      <p:sp>
        <p:nvSpPr>
          <p:cNvPr id="1315" name="Google Shape;1315;p22"/>
          <p:cNvSpPr txBox="1"/>
          <p:nvPr/>
        </p:nvSpPr>
        <p:spPr>
          <a:xfrm>
            <a:off x="4400777" y="3030318"/>
            <a:ext cx="1421863"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Ferney Chaparro</a:t>
            </a:r>
            <a:endParaRPr sz="1400" b="0" i="0" u="none" strike="noStrike" cap="none">
              <a:solidFill>
                <a:srgbClr val="000000"/>
              </a:solidFill>
              <a:latin typeface="Arial"/>
              <a:ea typeface="Arial"/>
              <a:cs typeface="Arial"/>
              <a:sym typeface="Arial"/>
            </a:endParaRPr>
          </a:p>
        </p:txBody>
      </p:sp>
      <p:sp>
        <p:nvSpPr>
          <p:cNvPr id="1316" name="Google Shape;1316;p22"/>
          <p:cNvSpPr txBox="1"/>
          <p:nvPr/>
        </p:nvSpPr>
        <p:spPr>
          <a:xfrm>
            <a:off x="4196811" y="327328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AC Representative</a:t>
            </a:r>
            <a:endParaRPr sz="1400" b="0" i="0" u="none" strike="noStrike" cap="none">
              <a:solidFill>
                <a:srgbClr val="000000"/>
              </a:solidFill>
              <a:latin typeface="Arial"/>
              <a:ea typeface="Arial"/>
              <a:cs typeface="Arial"/>
              <a:sym typeface="Arial"/>
            </a:endParaRPr>
          </a:p>
        </p:txBody>
      </p:sp>
      <p:sp>
        <p:nvSpPr>
          <p:cNvPr id="1317" name="Google Shape;1317;p22"/>
          <p:cNvSpPr txBox="1"/>
          <p:nvPr/>
        </p:nvSpPr>
        <p:spPr>
          <a:xfrm>
            <a:off x="6928673" y="3030318"/>
            <a:ext cx="97783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on Josias</a:t>
            </a:r>
            <a:endParaRPr sz="1400" b="0" i="0" u="none" strike="noStrike" cap="none">
              <a:solidFill>
                <a:srgbClr val="000000"/>
              </a:solidFill>
              <a:latin typeface="Arial"/>
              <a:ea typeface="Arial"/>
              <a:cs typeface="Arial"/>
              <a:sym typeface="Arial"/>
            </a:endParaRPr>
          </a:p>
        </p:txBody>
      </p:sp>
      <p:sp>
        <p:nvSpPr>
          <p:cNvPr id="1318" name="Google Shape;1318;p22"/>
          <p:cNvSpPr txBox="1"/>
          <p:nvPr/>
        </p:nvSpPr>
        <p:spPr>
          <a:xfrm>
            <a:off x="6502689" y="3273287"/>
            <a:ext cx="1829792" cy="44755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SADCA Representative/ILAC Treasurer</a:t>
            </a:r>
            <a:endParaRPr sz="1400" b="0" i="0" u="none" strike="noStrike" cap="none">
              <a:solidFill>
                <a:srgbClr val="000000"/>
              </a:solidFill>
              <a:latin typeface="Arial"/>
              <a:ea typeface="Arial"/>
              <a:cs typeface="Arial"/>
              <a:sym typeface="Arial"/>
            </a:endParaRPr>
          </a:p>
        </p:txBody>
      </p:sp>
      <p:sp>
        <p:nvSpPr>
          <p:cNvPr id="1319" name="Google Shape;1319;p22"/>
          <p:cNvSpPr txBox="1"/>
          <p:nvPr/>
        </p:nvSpPr>
        <p:spPr>
          <a:xfrm>
            <a:off x="9067445" y="3030318"/>
            <a:ext cx="1320874" cy="492402"/>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err="1">
                <a:solidFill>
                  <a:schemeClr val="dk1"/>
                </a:solidFill>
                <a:latin typeface="Raleway"/>
                <a:ea typeface="Raleway"/>
                <a:cs typeface="Raleway"/>
                <a:sym typeface="Raleway"/>
              </a:rPr>
              <a:t>Ms</a:t>
            </a:r>
            <a:r>
              <a:rPr lang="en-US" sz="1200" b="0" i="0" u="none" strike="noStrike" cap="none">
                <a:solidFill>
                  <a:schemeClr val="dk1"/>
                </a:solidFill>
                <a:latin typeface="Raleway"/>
                <a:ea typeface="Raleway"/>
                <a:cs typeface="Raleway"/>
                <a:sym typeface="Raleway"/>
              </a:rPr>
              <a:t> Jennifer Evans</a:t>
            </a:r>
          </a:p>
          <a:p>
            <a:pPr marL="0" marR="0" lvl="0" indent="0" algn="ctr" rtl="0">
              <a:lnSpc>
                <a:spcPct val="100000"/>
              </a:lnSpc>
              <a:spcBef>
                <a:spcPts val="0"/>
              </a:spcBef>
              <a:spcAft>
                <a:spcPts val="0"/>
              </a:spcAft>
              <a:buClr>
                <a:srgbClr val="000000"/>
              </a:buClr>
              <a:buSzPts val="1200"/>
              <a:buFont typeface="Arial"/>
              <a:buNone/>
            </a:pPr>
            <a:endParaRPr sz="1400" b="0" i="0" u="none" strike="noStrike" cap="none">
              <a:solidFill>
                <a:srgbClr val="000000"/>
              </a:solidFill>
              <a:latin typeface="Arial"/>
              <a:ea typeface="Arial"/>
              <a:cs typeface="Arial"/>
              <a:sym typeface="Arial"/>
            </a:endParaRPr>
          </a:p>
        </p:txBody>
      </p:sp>
      <p:sp>
        <p:nvSpPr>
          <p:cNvPr id="1320" name="Google Shape;1320;p22"/>
          <p:cNvSpPr txBox="1"/>
          <p:nvPr/>
        </p:nvSpPr>
        <p:spPr>
          <a:xfrm>
            <a:off x="8812984" y="327328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PAC Representative</a:t>
            </a:r>
            <a:endParaRPr sz="1400" b="0" i="0" u="none" strike="noStrike" cap="none">
              <a:solidFill>
                <a:srgbClr val="000000"/>
              </a:solidFill>
              <a:latin typeface="Arial"/>
              <a:ea typeface="Arial"/>
              <a:cs typeface="Arial"/>
              <a:sym typeface="Arial"/>
            </a:endParaRPr>
          </a:p>
        </p:txBody>
      </p:sp>
      <p:sp>
        <p:nvSpPr>
          <p:cNvPr id="1321" name="Google Shape;1321;p22"/>
          <p:cNvSpPr txBox="1"/>
          <p:nvPr/>
        </p:nvSpPr>
        <p:spPr>
          <a:xfrm>
            <a:off x="3383930" y="5624676"/>
            <a:ext cx="128560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Emanuele Riva</a:t>
            </a:r>
            <a:endParaRPr sz="1400" b="0" i="0" u="none" strike="noStrike" cap="none">
              <a:solidFill>
                <a:srgbClr val="000000"/>
              </a:solidFill>
              <a:latin typeface="Arial"/>
              <a:ea typeface="Arial"/>
              <a:cs typeface="Arial"/>
              <a:sym typeface="Arial"/>
            </a:endParaRPr>
          </a:p>
        </p:txBody>
      </p:sp>
      <p:sp>
        <p:nvSpPr>
          <p:cNvPr id="1322" name="Google Shape;1322;p22"/>
          <p:cNvSpPr txBox="1"/>
          <p:nvPr/>
        </p:nvSpPr>
        <p:spPr>
          <a:xfrm>
            <a:off x="3111831" y="5867645"/>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Chair (Observer)</a:t>
            </a:r>
            <a:endParaRPr sz="1400" b="0" i="0" u="none" strike="noStrike" cap="none">
              <a:solidFill>
                <a:srgbClr val="000000"/>
              </a:solidFill>
              <a:latin typeface="Arial"/>
              <a:ea typeface="Arial"/>
              <a:cs typeface="Arial"/>
              <a:sym typeface="Arial"/>
            </a:endParaRPr>
          </a:p>
        </p:txBody>
      </p:sp>
      <p:sp>
        <p:nvSpPr>
          <p:cNvPr id="1323" name="Google Shape;1323;p22"/>
          <p:cNvSpPr txBox="1"/>
          <p:nvPr/>
        </p:nvSpPr>
        <p:spPr>
          <a:xfrm>
            <a:off x="5539086" y="5624676"/>
            <a:ext cx="155170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Dr Andreas Steinhorst</a:t>
            </a:r>
            <a:endParaRPr sz="1400" b="0" i="0" u="none" strike="noStrike" cap="none">
              <a:solidFill>
                <a:srgbClr val="000000"/>
              </a:solidFill>
              <a:latin typeface="Arial"/>
              <a:ea typeface="Arial"/>
              <a:cs typeface="Arial"/>
              <a:sym typeface="Arial"/>
            </a:endParaRPr>
          </a:p>
        </p:txBody>
      </p:sp>
      <p:sp>
        <p:nvSpPr>
          <p:cNvPr id="1324" name="Google Shape;1324;p22"/>
          <p:cNvSpPr txBox="1"/>
          <p:nvPr/>
        </p:nvSpPr>
        <p:spPr>
          <a:xfrm>
            <a:off x="5400040" y="5867645"/>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EA Representative</a:t>
            </a:r>
            <a:endParaRPr sz="1400" b="0" i="0" u="none" strike="noStrike" cap="none">
              <a:solidFill>
                <a:srgbClr val="000000"/>
              </a:solidFill>
              <a:latin typeface="Arial"/>
              <a:ea typeface="Arial"/>
              <a:cs typeface="Arial"/>
              <a:sym typeface="Arial"/>
            </a:endParaRPr>
          </a:p>
        </p:txBody>
      </p:sp>
      <p:sp>
        <p:nvSpPr>
          <p:cNvPr id="1325" name="Google Shape;1325;p22"/>
          <p:cNvSpPr txBox="1"/>
          <p:nvPr/>
        </p:nvSpPr>
        <p:spPr>
          <a:xfrm>
            <a:off x="7759205" y="5624676"/>
            <a:ext cx="1723229"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Yolanda Vinnicombe</a:t>
            </a:r>
            <a:endParaRPr sz="1400" b="0" i="0" u="none" strike="noStrike" cap="none">
              <a:solidFill>
                <a:srgbClr val="000000"/>
              </a:solidFill>
              <a:latin typeface="Arial"/>
              <a:ea typeface="Arial"/>
              <a:cs typeface="Arial"/>
              <a:sym typeface="Arial"/>
            </a:endParaRPr>
          </a:p>
        </p:txBody>
      </p:sp>
      <p:sp>
        <p:nvSpPr>
          <p:cNvPr id="1326" name="Google Shape;1326;p22"/>
          <p:cNvSpPr txBox="1"/>
          <p:nvPr/>
        </p:nvSpPr>
        <p:spPr>
          <a:xfrm>
            <a:off x="7705918" y="5867645"/>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cting AFRAC Representative</a:t>
            </a:r>
            <a:endParaRPr sz="1400" b="0" i="0" u="none" strike="noStrike" cap="none">
              <a:solidFill>
                <a:srgbClr val="000000"/>
              </a:solidFill>
              <a:latin typeface="Arial"/>
              <a:ea typeface="Arial"/>
              <a:cs typeface="Arial"/>
              <a:sym typeface="Arial"/>
            </a:endParaRPr>
          </a:p>
        </p:txBody>
      </p:sp>
      <p:pic>
        <p:nvPicPr>
          <p:cNvPr id="1327" name="Google Shape;1327;p22" descr="A person wearing a black hoodie&#10;&#10;Description automatically generated with low confidence"/>
          <p:cNvPicPr preferRelativeResize="0">
            <a:picLocks noGrp="1"/>
          </p:cNvPicPr>
          <p:nvPr>
            <p:ph type="pic" idx="2"/>
          </p:nvPr>
        </p:nvPicPr>
        <p:blipFill rotWithShape="1">
          <a:blip r:embed="rId3">
            <a:alphaModFix/>
          </a:blip>
          <a:srcRect l="811" t="4346" r="-810" b="29058"/>
          <a:stretch/>
        </p:blipFill>
        <p:spPr>
          <a:xfrm>
            <a:off x="2079625" y="1463675"/>
            <a:ext cx="1487488" cy="1485900"/>
          </a:xfrm>
          <a:prstGeom prst="ellipse">
            <a:avLst/>
          </a:prstGeom>
          <a:noFill/>
          <a:ln>
            <a:noFill/>
          </a:ln>
        </p:spPr>
      </p:pic>
      <p:pic>
        <p:nvPicPr>
          <p:cNvPr id="1328" name="Google Shape;1328;p22" descr="A person in a suit and tie&#10;&#10;Description automatically generated with medium confidence"/>
          <p:cNvPicPr preferRelativeResize="0">
            <a:picLocks noGrp="1"/>
          </p:cNvPicPr>
          <p:nvPr>
            <p:ph type="pic" idx="3"/>
          </p:nvPr>
        </p:nvPicPr>
        <p:blipFill rotWithShape="1">
          <a:blip r:embed="rId4">
            <a:alphaModFix/>
          </a:blip>
          <a:srcRect l="652" t="3287" r="-651" b="17219"/>
          <a:stretch/>
        </p:blipFill>
        <p:spPr>
          <a:xfrm>
            <a:off x="4368800" y="1463675"/>
            <a:ext cx="1485900" cy="1485900"/>
          </a:xfrm>
          <a:prstGeom prst="ellipse">
            <a:avLst/>
          </a:prstGeom>
          <a:noFill/>
          <a:ln>
            <a:noFill/>
          </a:ln>
        </p:spPr>
      </p:pic>
      <p:pic>
        <p:nvPicPr>
          <p:cNvPr id="1329" name="Google Shape;1329;p22" descr="A person wearing a suit and tie&#10;&#10;Description automatically generated with medium confidence"/>
          <p:cNvPicPr preferRelativeResize="0">
            <a:picLocks noGrp="1"/>
          </p:cNvPicPr>
          <p:nvPr>
            <p:ph type="pic" idx="4"/>
          </p:nvPr>
        </p:nvPicPr>
        <p:blipFill rotWithShape="1">
          <a:blip r:embed="rId5">
            <a:alphaModFix/>
          </a:blip>
          <a:srcRect l="1" t="1080" r="-1" b="17695"/>
          <a:stretch/>
        </p:blipFill>
        <p:spPr>
          <a:xfrm>
            <a:off x="6673850" y="1463675"/>
            <a:ext cx="1487488" cy="1485900"/>
          </a:xfrm>
          <a:prstGeom prst="ellipse">
            <a:avLst/>
          </a:prstGeom>
          <a:noFill/>
          <a:ln>
            <a:noFill/>
          </a:ln>
        </p:spPr>
      </p:pic>
      <p:pic>
        <p:nvPicPr>
          <p:cNvPr id="1331" name="Google Shape;1331;p22" descr="A picture containing person, wall, clothing, suit&#10;&#10;Description automatically generated"/>
          <p:cNvPicPr preferRelativeResize="0">
            <a:picLocks noGrp="1"/>
          </p:cNvPicPr>
          <p:nvPr>
            <p:ph type="pic" idx="7"/>
          </p:nvPr>
        </p:nvPicPr>
        <p:blipFill rotWithShape="1">
          <a:blip r:embed="rId6">
            <a:alphaModFix/>
          </a:blip>
          <a:srcRect l="7" t="11820" r="-5" b="21843"/>
          <a:stretch/>
        </p:blipFill>
        <p:spPr>
          <a:xfrm>
            <a:off x="7877175" y="4044950"/>
            <a:ext cx="1487488" cy="1485900"/>
          </a:xfrm>
          <a:prstGeom prst="ellipse">
            <a:avLst/>
          </a:prstGeom>
          <a:noFill/>
          <a:ln>
            <a:noFill/>
          </a:ln>
        </p:spPr>
      </p:pic>
      <p:pic>
        <p:nvPicPr>
          <p:cNvPr id="1332" name="Google Shape;1332;p22" descr="A person in a suit and tie&#10;&#10;Description automatically generated"/>
          <p:cNvPicPr preferRelativeResize="0">
            <a:picLocks noGrp="1"/>
          </p:cNvPicPr>
          <p:nvPr>
            <p:ph type="pic" idx="8"/>
          </p:nvPr>
        </p:nvPicPr>
        <p:blipFill rotWithShape="1">
          <a:blip r:embed="rId7">
            <a:alphaModFix/>
          </a:blip>
          <a:srcRect l="9" t="1045" r="-9" b="15419"/>
          <a:stretch/>
        </p:blipFill>
        <p:spPr>
          <a:xfrm>
            <a:off x="5572125" y="4044950"/>
            <a:ext cx="1485900" cy="1485900"/>
          </a:xfrm>
          <a:prstGeom prst="ellipse">
            <a:avLst/>
          </a:prstGeom>
          <a:noFill/>
          <a:ln>
            <a:noFill/>
          </a:ln>
        </p:spPr>
      </p:pic>
      <p:pic>
        <p:nvPicPr>
          <p:cNvPr id="1333" name="Google Shape;1333;p22"/>
          <p:cNvPicPr preferRelativeResize="0">
            <a:picLocks noGrp="1"/>
          </p:cNvPicPr>
          <p:nvPr>
            <p:ph type="pic" idx="9"/>
          </p:nvPr>
        </p:nvPicPr>
        <p:blipFill rotWithShape="1">
          <a:blip r:embed="rId8"/>
          <a:srcRect t="53" b="53"/>
          <a:stretch/>
        </p:blipFill>
        <p:spPr>
          <a:xfrm>
            <a:off x="3282950" y="4044950"/>
            <a:ext cx="1487488" cy="1485900"/>
          </a:xfrm>
          <a:prstGeom prst="ellipse">
            <a:avLst/>
          </a:prstGeom>
          <a:noFill/>
          <a:ln>
            <a:noFill/>
          </a:ln>
        </p:spPr>
      </p:pic>
      <p:sp>
        <p:nvSpPr>
          <p:cNvPr id="1334" name="Google Shape;1334;p22"/>
          <p:cNvSpPr txBox="1"/>
          <p:nvPr/>
        </p:nvSpPr>
        <p:spPr>
          <a:xfrm>
            <a:off x="479232" y="396930"/>
            <a:ext cx="454021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rgbClr val="000000"/>
              </a:solidFill>
              <a:latin typeface="Arial"/>
              <a:ea typeface="Arial"/>
              <a:cs typeface="Arial"/>
              <a:sym typeface="Arial"/>
            </a:endParaRPr>
          </a:p>
        </p:txBody>
      </p:sp>
      <p:cxnSp>
        <p:nvCxnSpPr>
          <p:cNvPr id="1335" name="Google Shape;1335;p22"/>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2" name="Google Shape;1296;p21" descr="A person wearing glasses&#10;&#10;Description automatically generated with low confidence">
            <a:extLst>
              <a:ext uri="{FF2B5EF4-FFF2-40B4-BE49-F238E27FC236}">
                <a16:creationId xmlns:a16="http://schemas.microsoft.com/office/drawing/2014/main" id="{AE153120-84D5-F837-0F7F-8F66071DF76E}"/>
              </a:ext>
            </a:extLst>
          </p:cNvPr>
          <p:cNvPicPr preferRelativeResize="0">
            <a:picLocks/>
          </p:cNvPicPr>
          <p:nvPr/>
        </p:nvPicPr>
        <p:blipFill rotWithShape="1">
          <a:blip r:embed="rId9">
            <a:alphaModFix/>
          </a:blip>
          <a:srcRect l="1553" r="-1552" b="33593"/>
          <a:stretch/>
        </p:blipFill>
        <p:spPr>
          <a:xfrm>
            <a:off x="9018051" y="1422934"/>
            <a:ext cx="1485900" cy="1485900"/>
          </a:xfrm>
          <a:prstGeom prst="ellipse">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Freeform 4"/>
          <p:cNvSpPr>
            <a:spLocks/>
          </p:cNvSpPr>
          <p:nvPr>
            <p:custDataLst>
              <p:tags r:id="rId1"/>
            </p:custDataLst>
          </p:nvPr>
        </p:nvSpPr>
        <p:spPr bwMode="auto">
          <a:xfrm>
            <a:off x="4043364" y="5394325"/>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51" name="Freeform 5"/>
          <p:cNvSpPr>
            <a:spLocks/>
          </p:cNvSpPr>
          <p:nvPr>
            <p:custDataLst>
              <p:tags r:id="rId2"/>
            </p:custDataLst>
          </p:nvPr>
        </p:nvSpPr>
        <p:spPr bwMode="auto">
          <a:xfrm>
            <a:off x="2201864" y="1495425"/>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2" name="Freeform 6"/>
          <p:cNvSpPr>
            <a:spLocks/>
          </p:cNvSpPr>
          <p:nvPr>
            <p:custDataLst>
              <p:tags r:id="rId3"/>
            </p:custDataLst>
          </p:nvPr>
        </p:nvSpPr>
        <p:spPr bwMode="auto">
          <a:xfrm>
            <a:off x="2662239" y="2111375"/>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3" name="Freeform 7"/>
          <p:cNvSpPr>
            <a:spLocks/>
          </p:cNvSpPr>
          <p:nvPr>
            <p:custDataLst>
              <p:tags r:id="rId4"/>
            </p:custDataLst>
          </p:nvPr>
        </p:nvSpPr>
        <p:spPr bwMode="auto">
          <a:xfrm>
            <a:off x="3505200" y="3652245"/>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36699"/>
          </a:solidFill>
          <a:ln w="9525">
            <a:solidFill>
              <a:srgbClr val="FFFFFF"/>
            </a:solidFill>
            <a:round/>
            <a:headEnd/>
            <a:tailEnd/>
          </a:ln>
        </p:spPr>
        <p:txBody>
          <a:bodyPr lIns="91434" tIns="45717" rIns="91434" bIns="45717"/>
          <a:lstStyle/>
          <a:p>
            <a:pPr>
              <a:defRPr/>
            </a:pPr>
            <a:endParaRPr lang="en-AU">
              <a:solidFill>
                <a:schemeClr val="accent1">
                  <a:lumMod val="75000"/>
                </a:schemeClr>
              </a:solidFill>
            </a:endParaRPr>
          </a:p>
        </p:txBody>
      </p:sp>
      <p:sp>
        <p:nvSpPr>
          <p:cNvPr id="27654" name="Freeform 8"/>
          <p:cNvSpPr>
            <a:spLocks/>
          </p:cNvSpPr>
          <p:nvPr>
            <p:custDataLst>
              <p:tags r:id="rId5"/>
            </p:custDataLst>
          </p:nvPr>
        </p:nvSpPr>
        <p:spPr bwMode="auto">
          <a:xfrm>
            <a:off x="3795714" y="4225925"/>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5" name="Freeform 9"/>
          <p:cNvSpPr>
            <a:spLocks/>
          </p:cNvSpPr>
          <p:nvPr>
            <p:custDataLst>
              <p:tags r:id="rId6"/>
            </p:custDataLst>
          </p:nvPr>
        </p:nvSpPr>
        <p:spPr bwMode="auto">
          <a:xfrm>
            <a:off x="3700464" y="3508376"/>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6" name="Freeform 10"/>
          <p:cNvSpPr>
            <a:spLocks/>
          </p:cNvSpPr>
          <p:nvPr>
            <p:custDataLst>
              <p:tags r:id="rId7"/>
            </p:custDataLst>
          </p:nvPr>
        </p:nvSpPr>
        <p:spPr bwMode="auto">
          <a:xfrm>
            <a:off x="5813425" y="2454276"/>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7" name="Freeform 11"/>
          <p:cNvSpPr>
            <a:spLocks/>
          </p:cNvSpPr>
          <p:nvPr>
            <p:custDataLst>
              <p:tags r:id="rId8"/>
            </p:custDataLst>
          </p:nvPr>
        </p:nvSpPr>
        <p:spPr bwMode="auto">
          <a:xfrm>
            <a:off x="5311775" y="2328864"/>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8" name="Freeform 12"/>
          <p:cNvSpPr>
            <a:spLocks/>
          </p:cNvSpPr>
          <p:nvPr>
            <p:custDataLst>
              <p:tags r:id="rId9"/>
            </p:custDataLst>
          </p:nvPr>
        </p:nvSpPr>
        <p:spPr bwMode="auto">
          <a:xfrm>
            <a:off x="5392738" y="1814514"/>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9" name="Freeform 13"/>
          <p:cNvSpPr>
            <a:spLocks/>
          </p:cNvSpPr>
          <p:nvPr>
            <p:custDataLst>
              <p:tags r:id="rId10"/>
            </p:custDataLst>
          </p:nvPr>
        </p:nvSpPr>
        <p:spPr bwMode="auto">
          <a:xfrm>
            <a:off x="5751513" y="2117725"/>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0" name="Freeform 14"/>
          <p:cNvSpPr>
            <a:spLocks/>
          </p:cNvSpPr>
          <p:nvPr>
            <p:custDataLst>
              <p:tags r:id="rId11"/>
            </p:custDataLst>
          </p:nvPr>
        </p:nvSpPr>
        <p:spPr bwMode="auto">
          <a:xfrm>
            <a:off x="7243763" y="1966914"/>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1" name="Freeform 15"/>
          <p:cNvSpPr>
            <a:spLocks/>
          </p:cNvSpPr>
          <p:nvPr>
            <p:custDataLst>
              <p:tags r:id="rId12"/>
            </p:custDataLst>
          </p:nvPr>
        </p:nvSpPr>
        <p:spPr bwMode="auto">
          <a:xfrm>
            <a:off x="5935663" y="1508125"/>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2" name="Freeform 16"/>
          <p:cNvSpPr>
            <a:spLocks/>
          </p:cNvSpPr>
          <p:nvPr>
            <p:custDataLst>
              <p:tags r:id="rId13"/>
            </p:custDataLst>
          </p:nvPr>
        </p:nvSpPr>
        <p:spPr bwMode="auto">
          <a:xfrm>
            <a:off x="5672138" y="1925639"/>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3" name="Freeform 17"/>
          <p:cNvSpPr>
            <a:spLocks/>
          </p:cNvSpPr>
          <p:nvPr>
            <p:custDataLst>
              <p:tags r:id="rId14"/>
            </p:custDataLst>
          </p:nvPr>
        </p:nvSpPr>
        <p:spPr bwMode="auto">
          <a:xfrm>
            <a:off x="5697539" y="2182814"/>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4" name="Freeform 18"/>
          <p:cNvSpPr>
            <a:spLocks/>
          </p:cNvSpPr>
          <p:nvPr>
            <p:custDataLst>
              <p:tags r:id="rId15"/>
            </p:custDataLst>
          </p:nvPr>
        </p:nvSpPr>
        <p:spPr bwMode="auto">
          <a:xfrm>
            <a:off x="5715000" y="2351088"/>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3" name="Group 19"/>
          <p:cNvGrpSpPr>
            <a:grpSpLocks/>
          </p:cNvGrpSpPr>
          <p:nvPr>
            <p:custDataLst>
              <p:tags r:id="rId16"/>
            </p:custDataLst>
          </p:nvPr>
        </p:nvGrpSpPr>
        <p:grpSpPr bwMode="auto">
          <a:xfrm>
            <a:off x="8034340" y="3411540"/>
            <a:ext cx="473075" cy="212725"/>
            <a:chOff x="4488" y="2394"/>
            <a:chExt cx="358" cy="124"/>
          </a:xfrm>
          <a:solidFill>
            <a:srgbClr val="336699"/>
          </a:solidFill>
        </p:grpSpPr>
        <p:sp>
          <p:nvSpPr>
            <p:cNvPr id="2068"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069"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666" name="Freeform 22"/>
          <p:cNvSpPr>
            <a:spLocks/>
          </p:cNvSpPr>
          <p:nvPr>
            <p:custDataLst>
              <p:tags r:id="rId17"/>
            </p:custDataLst>
          </p:nvPr>
        </p:nvSpPr>
        <p:spPr bwMode="auto">
          <a:xfrm>
            <a:off x="6056313" y="1287464"/>
            <a:ext cx="3065462"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7" name="Freeform 23"/>
          <p:cNvSpPr>
            <a:spLocks/>
          </p:cNvSpPr>
          <p:nvPr>
            <p:custDataLst>
              <p:tags r:id="rId18"/>
            </p:custDataLst>
          </p:nvPr>
        </p:nvSpPr>
        <p:spPr bwMode="auto">
          <a:xfrm>
            <a:off x="5319714" y="2274888"/>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8" name="Freeform 24"/>
          <p:cNvSpPr>
            <a:spLocks/>
          </p:cNvSpPr>
          <p:nvPr>
            <p:custDataLst>
              <p:tags r:id="rId19"/>
            </p:custDataLst>
          </p:nvPr>
        </p:nvSpPr>
        <p:spPr bwMode="auto">
          <a:xfrm>
            <a:off x="7951788" y="3013076"/>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9" name="Freeform 25"/>
          <p:cNvSpPr>
            <a:spLocks/>
          </p:cNvSpPr>
          <p:nvPr>
            <p:custDataLst>
              <p:tags r:id="rId20"/>
            </p:custDataLst>
          </p:nvPr>
        </p:nvSpPr>
        <p:spPr bwMode="auto">
          <a:xfrm>
            <a:off x="4060826"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0" name="Line 26" descr="Horizontal dunkel"/>
          <p:cNvSpPr>
            <a:spLocks noChangeShapeType="1"/>
          </p:cNvSpPr>
          <p:nvPr>
            <p:custDataLst>
              <p:tags r:id="rId21"/>
            </p:custDataLst>
          </p:nvPr>
        </p:nvSpPr>
        <p:spPr bwMode="auto">
          <a:xfrm>
            <a:off x="2522539" y="2322514"/>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71" name="Freeform 27"/>
          <p:cNvSpPr>
            <a:spLocks/>
          </p:cNvSpPr>
          <p:nvPr>
            <p:custDataLst>
              <p:tags r:id="rId22"/>
            </p:custDataLst>
          </p:nvPr>
        </p:nvSpPr>
        <p:spPr bwMode="auto">
          <a:xfrm>
            <a:off x="2525714" y="2319338"/>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2" name="Freeform 28"/>
          <p:cNvSpPr>
            <a:spLocks/>
          </p:cNvSpPr>
          <p:nvPr>
            <p:custDataLst>
              <p:tags r:id="rId23"/>
            </p:custDataLst>
          </p:nvPr>
        </p:nvSpPr>
        <p:spPr bwMode="auto">
          <a:xfrm>
            <a:off x="2501901" y="2373313"/>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3" name="Freeform 29"/>
          <p:cNvSpPr>
            <a:spLocks/>
          </p:cNvSpPr>
          <p:nvPr>
            <p:custDataLst>
              <p:tags r:id="rId24"/>
            </p:custDataLst>
          </p:nvPr>
        </p:nvSpPr>
        <p:spPr bwMode="auto">
          <a:xfrm>
            <a:off x="3827463" y="2368550"/>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4" name="Freeform 30"/>
          <p:cNvSpPr>
            <a:spLocks/>
          </p:cNvSpPr>
          <p:nvPr>
            <p:custDataLst>
              <p:tags r:id="rId25"/>
            </p:custDataLst>
          </p:nvPr>
        </p:nvSpPr>
        <p:spPr bwMode="auto">
          <a:xfrm>
            <a:off x="6565901" y="1925639"/>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75" name="Freeform 31"/>
          <p:cNvSpPr>
            <a:spLocks/>
          </p:cNvSpPr>
          <p:nvPr>
            <p:custDataLst>
              <p:tags r:id="rId26"/>
            </p:custDataLst>
          </p:nvPr>
        </p:nvSpPr>
        <p:spPr bwMode="auto">
          <a:xfrm>
            <a:off x="6796089" y="2228850"/>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76" name="Freeform 32"/>
          <p:cNvSpPr>
            <a:spLocks/>
          </p:cNvSpPr>
          <p:nvPr>
            <p:custDataLst>
              <p:tags r:id="rId27"/>
            </p:custDataLst>
          </p:nvPr>
        </p:nvSpPr>
        <p:spPr bwMode="auto">
          <a:xfrm>
            <a:off x="5603876" y="3232151"/>
            <a:ext cx="296863"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677" name="Freeform 33"/>
          <p:cNvSpPr>
            <a:spLocks/>
          </p:cNvSpPr>
          <p:nvPr>
            <p:custDataLst>
              <p:tags r:id="rId28"/>
            </p:custDataLst>
          </p:nvPr>
        </p:nvSpPr>
        <p:spPr bwMode="auto">
          <a:xfrm>
            <a:off x="6446838" y="3097213"/>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8" name="Freeform 34"/>
          <p:cNvSpPr>
            <a:spLocks/>
          </p:cNvSpPr>
          <p:nvPr>
            <p:custDataLst>
              <p:tags r:id="rId29"/>
            </p:custDataLst>
          </p:nvPr>
        </p:nvSpPr>
        <p:spPr bwMode="auto">
          <a:xfrm>
            <a:off x="5908676" y="2101850"/>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79" name="Freeform 35"/>
          <p:cNvSpPr>
            <a:spLocks/>
          </p:cNvSpPr>
          <p:nvPr>
            <p:custDataLst>
              <p:tags r:id="rId30"/>
            </p:custDataLst>
          </p:nvPr>
        </p:nvSpPr>
        <p:spPr bwMode="auto">
          <a:xfrm>
            <a:off x="6772275" y="2822575"/>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680" name="Freeform 36"/>
          <p:cNvSpPr>
            <a:spLocks/>
          </p:cNvSpPr>
          <p:nvPr>
            <p:custDataLst>
              <p:tags r:id="rId31"/>
            </p:custDataLst>
          </p:nvPr>
        </p:nvSpPr>
        <p:spPr bwMode="auto">
          <a:xfrm>
            <a:off x="6891339" y="2827338"/>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1" name="Freeform 37"/>
          <p:cNvSpPr>
            <a:spLocks/>
          </p:cNvSpPr>
          <p:nvPr>
            <p:custDataLst>
              <p:tags r:id="rId32"/>
            </p:custDataLst>
          </p:nvPr>
        </p:nvSpPr>
        <p:spPr bwMode="auto">
          <a:xfrm>
            <a:off x="8378825" y="3487738"/>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27682" name="Group 38"/>
          <p:cNvGrpSpPr>
            <a:grpSpLocks/>
          </p:cNvGrpSpPr>
          <p:nvPr>
            <p:custDataLst>
              <p:tags r:id="rId33"/>
            </p:custDataLst>
          </p:nvPr>
        </p:nvGrpSpPr>
        <p:grpSpPr bwMode="auto">
          <a:xfrm>
            <a:off x="4230689" y="5295901"/>
            <a:ext cx="65087" cy="55563"/>
            <a:chOff x="1654" y="3671"/>
            <a:chExt cx="49" cy="17"/>
          </a:xfrm>
        </p:grpSpPr>
        <p:sp>
          <p:nvSpPr>
            <p:cNvPr id="28127" name="Freeform 39"/>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a:solidFill>
                <a:srgbClr val="FFFFFF"/>
              </a:solidFill>
              <a:round/>
              <a:headEnd/>
              <a:tailEnd/>
            </a:ln>
          </p:spPr>
          <p:txBody>
            <a:bodyPr/>
            <a:lstStyle/>
            <a:p>
              <a:endParaRPr lang="en-AU"/>
            </a:p>
          </p:txBody>
        </p:sp>
        <p:sp>
          <p:nvSpPr>
            <p:cNvPr id="28128" name="Freeform 40"/>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a:solidFill>
                <a:srgbClr val="FFFFFF"/>
              </a:solidFill>
              <a:round/>
              <a:headEnd/>
              <a:tailEnd/>
            </a:ln>
          </p:spPr>
          <p:txBody>
            <a:bodyPr/>
            <a:lstStyle/>
            <a:p>
              <a:endParaRPr lang="en-AU"/>
            </a:p>
          </p:txBody>
        </p:sp>
      </p:grpSp>
      <p:sp>
        <p:nvSpPr>
          <p:cNvPr id="27683" name="Freeform 41"/>
          <p:cNvSpPr>
            <a:spLocks/>
          </p:cNvSpPr>
          <p:nvPr>
            <p:custDataLst>
              <p:tags r:id="rId34"/>
            </p:custDataLst>
          </p:nvPr>
        </p:nvSpPr>
        <p:spPr bwMode="auto">
          <a:xfrm>
            <a:off x="3878263" y="3090864"/>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5" name="Freeform 43"/>
          <p:cNvSpPr>
            <a:spLocks/>
          </p:cNvSpPr>
          <p:nvPr>
            <p:custDataLst>
              <p:tags r:id="rId35"/>
            </p:custDataLst>
          </p:nvPr>
        </p:nvSpPr>
        <p:spPr bwMode="auto">
          <a:xfrm>
            <a:off x="3946525" y="3098800"/>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6" name="Freeform 44"/>
          <p:cNvSpPr>
            <a:spLocks/>
          </p:cNvSpPr>
          <p:nvPr>
            <p:custDataLst>
              <p:tags r:id="rId36"/>
            </p:custDataLst>
          </p:nvPr>
        </p:nvSpPr>
        <p:spPr bwMode="auto">
          <a:xfrm>
            <a:off x="3960814" y="3089275"/>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7" name="Freeform 45"/>
          <p:cNvSpPr>
            <a:spLocks/>
          </p:cNvSpPr>
          <p:nvPr>
            <p:custDataLst>
              <p:tags r:id="rId37"/>
            </p:custDataLst>
          </p:nvPr>
        </p:nvSpPr>
        <p:spPr bwMode="auto">
          <a:xfrm>
            <a:off x="3940176" y="3081339"/>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8" name="Freeform 46"/>
          <p:cNvSpPr>
            <a:spLocks/>
          </p:cNvSpPr>
          <p:nvPr>
            <p:custDataLst>
              <p:tags r:id="rId38"/>
            </p:custDataLst>
          </p:nvPr>
        </p:nvSpPr>
        <p:spPr bwMode="auto">
          <a:xfrm>
            <a:off x="3989389" y="3109914"/>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9" name="Line 47"/>
          <p:cNvSpPr>
            <a:spLocks noChangeShapeType="1"/>
          </p:cNvSpPr>
          <p:nvPr>
            <p:custDataLst>
              <p:tags r:id="rId39"/>
            </p:custDataLst>
          </p:nvPr>
        </p:nvSpPr>
        <p:spPr bwMode="auto">
          <a:xfrm flipH="1" flipV="1">
            <a:off x="3997325" y="3106739"/>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90" name="Line 48"/>
          <p:cNvSpPr>
            <a:spLocks noChangeShapeType="1"/>
          </p:cNvSpPr>
          <p:nvPr>
            <p:custDataLst>
              <p:tags r:id="rId40"/>
            </p:custDataLst>
          </p:nvPr>
        </p:nvSpPr>
        <p:spPr bwMode="auto">
          <a:xfrm flipH="1">
            <a:off x="3997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91" name="Freeform 49"/>
          <p:cNvSpPr>
            <a:spLocks/>
          </p:cNvSpPr>
          <p:nvPr>
            <p:custDataLst>
              <p:tags r:id="rId41"/>
            </p:custDataLst>
          </p:nvPr>
        </p:nvSpPr>
        <p:spPr bwMode="auto">
          <a:xfrm>
            <a:off x="3997326" y="3127375"/>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2" name="Freeform 50"/>
          <p:cNvSpPr>
            <a:spLocks/>
          </p:cNvSpPr>
          <p:nvPr>
            <p:custDataLst>
              <p:tags r:id="rId42"/>
            </p:custDataLst>
          </p:nvPr>
        </p:nvSpPr>
        <p:spPr bwMode="auto">
          <a:xfrm>
            <a:off x="4003676" y="3155951"/>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3" name="Freeform 51"/>
          <p:cNvSpPr>
            <a:spLocks/>
          </p:cNvSpPr>
          <p:nvPr>
            <p:custDataLst>
              <p:tags r:id="rId43"/>
            </p:custDataLst>
          </p:nvPr>
        </p:nvSpPr>
        <p:spPr bwMode="auto">
          <a:xfrm>
            <a:off x="4010026" y="3203575"/>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4" name="Freeform 52"/>
          <p:cNvSpPr>
            <a:spLocks/>
          </p:cNvSpPr>
          <p:nvPr>
            <p:custDataLst>
              <p:tags r:id="rId44"/>
            </p:custDataLst>
          </p:nvPr>
        </p:nvSpPr>
        <p:spPr bwMode="auto">
          <a:xfrm>
            <a:off x="4019551" y="3228975"/>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5" name="Freeform 53"/>
          <p:cNvSpPr>
            <a:spLocks/>
          </p:cNvSpPr>
          <p:nvPr>
            <p:custDataLst>
              <p:tags r:id="rId45"/>
            </p:custDataLst>
          </p:nvPr>
        </p:nvSpPr>
        <p:spPr bwMode="auto">
          <a:xfrm>
            <a:off x="4041775" y="3259138"/>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6" name="Freeform 54"/>
          <p:cNvSpPr>
            <a:spLocks/>
          </p:cNvSpPr>
          <p:nvPr>
            <p:custDataLst>
              <p:tags r:id="rId46"/>
            </p:custDataLst>
          </p:nvPr>
        </p:nvSpPr>
        <p:spPr bwMode="auto">
          <a:xfrm>
            <a:off x="4003676" y="3271839"/>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7" name="Freeform 55"/>
          <p:cNvSpPr>
            <a:spLocks/>
          </p:cNvSpPr>
          <p:nvPr>
            <p:custDataLst>
              <p:tags r:id="rId47"/>
            </p:custDataLst>
          </p:nvPr>
        </p:nvSpPr>
        <p:spPr bwMode="auto">
          <a:xfrm>
            <a:off x="3989388" y="3336925"/>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8" name="Freeform 56"/>
          <p:cNvSpPr>
            <a:spLocks/>
          </p:cNvSpPr>
          <p:nvPr>
            <p:custDataLst>
              <p:tags r:id="rId48"/>
            </p:custDataLst>
          </p:nvPr>
        </p:nvSpPr>
        <p:spPr bwMode="auto">
          <a:xfrm>
            <a:off x="4008438" y="3313113"/>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699" name="Freeform 57"/>
          <p:cNvSpPr>
            <a:spLocks/>
          </p:cNvSpPr>
          <p:nvPr>
            <p:custDataLst>
              <p:tags r:id="rId49"/>
            </p:custDataLst>
          </p:nvPr>
        </p:nvSpPr>
        <p:spPr bwMode="auto">
          <a:xfrm>
            <a:off x="3490914" y="2984500"/>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00" name="Group 58"/>
          <p:cNvGrpSpPr>
            <a:grpSpLocks/>
          </p:cNvGrpSpPr>
          <p:nvPr>
            <p:custDataLst>
              <p:tags r:id="rId50"/>
            </p:custDataLst>
          </p:nvPr>
        </p:nvGrpSpPr>
        <p:grpSpPr bwMode="auto">
          <a:xfrm>
            <a:off x="3616326" y="2817813"/>
            <a:ext cx="131763" cy="195262"/>
            <a:chOff x="1199" y="2121"/>
            <a:chExt cx="97" cy="123"/>
          </a:xfrm>
        </p:grpSpPr>
        <p:sp>
          <p:nvSpPr>
            <p:cNvPr id="28117" name="Freeform 59"/>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a:solidFill>
                <a:srgbClr val="FFFFFF"/>
              </a:solidFill>
              <a:round/>
              <a:headEnd/>
              <a:tailEnd/>
            </a:ln>
          </p:spPr>
          <p:txBody>
            <a:bodyPr/>
            <a:lstStyle/>
            <a:p>
              <a:endParaRPr lang="en-AU"/>
            </a:p>
          </p:txBody>
        </p:sp>
        <p:sp>
          <p:nvSpPr>
            <p:cNvPr id="28118" name="Freeform 60"/>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a:solidFill>
                <a:srgbClr val="FFFFFF"/>
              </a:solidFill>
              <a:round/>
              <a:headEnd/>
              <a:tailEnd/>
            </a:ln>
          </p:spPr>
          <p:txBody>
            <a:bodyPr/>
            <a:lstStyle/>
            <a:p>
              <a:endParaRPr lang="en-AU"/>
            </a:p>
          </p:txBody>
        </p:sp>
        <p:sp>
          <p:nvSpPr>
            <p:cNvPr id="28119" name="Freeform 61"/>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a:solidFill>
                <a:srgbClr val="FFFFFF"/>
              </a:solidFill>
              <a:round/>
              <a:headEnd/>
              <a:tailEnd/>
            </a:ln>
          </p:spPr>
          <p:txBody>
            <a:bodyPr/>
            <a:lstStyle/>
            <a:p>
              <a:endParaRPr lang="en-AU"/>
            </a:p>
          </p:txBody>
        </p:sp>
        <p:sp>
          <p:nvSpPr>
            <p:cNvPr id="28120" name="Freeform 62"/>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a:solidFill>
                <a:srgbClr val="FFFFFF"/>
              </a:solidFill>
              <a:round/>
              <a:headEnd/>
              <a:tailEnd/>
            </a:ln>
          </p:spPr>
          <p:txBody>
            <a:bodyPr/>
            <a:lstStyle/>
            <a:p>
              <a:endParaRPr lang="en-AU"/>
            </a:p>
          </p:txBody>
        </p:sp>
        <p:sp>
          <p:nvSpPr>
            <p:cNvPr id="28121" name="Freeform 63"/>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a:solidFill>
                <a:srgbClr val="FFFFFF"/>
              </a:solidFill>
              <a:round/>
              <a:headEnd/>
              <a:tailEnd/>
            </a:ln>
          </p:spPr>
          <p:txBody>
            <a:bodyPr/>
            <a:lstStyle/>
            <a:p>
              <a:endParaRPr lang="en-AU"/>
            </a:p>
          </p:txBody>
        </p:sp>
        <p:sp>
          <p:nvSpPr>
            <p:cNvPr id="28122" name="Freeform 64"/>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a:solidFill>
                <a:srgbClr val="FFFFFF"/>
              </a:solidFill>
              <a:round/>
              <a:headEnd/>
              <a:tailEnd/>
            </a:ln>
          </p:spPr>
          <p:txBody>
            <a:bodyPr/>
            <a:lstStyle/>
            <a:p>
              <a:endParaRPr lang="en-AU"/>
            </a:p>
          </p:txBody>
        </p:sp>
        <p:sp>
          <p:nvSpPr>
            <p:cNvPr id="28123" name="Freeform 65"/>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a:solidFill>
                <a:srgbClr val="FFFFFF"/>
              </a:solidFill>
              <a:round/>
              <a:headEnd/>
              <a:tailEnd/>
            </a:ln>
          </p:spPr>
          <p:txBody>
            <a:bodyPr/>
            <a:lstStyle/>
            <a:p>
              <a:endParaRPr lang="en-AU"/>
            </a:p>
          </p:txBody>
        </p:sp>
        <p:sp>
          <p:nvSpPr>
            <p:cNvPr id="28124" name="Freeform 66"/>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a:solidFill>
                <a:srgbClr val="FFFFFF"/>
              </a:solidFill>
              <a:round/>
              <a:headEnd/>
              <a:tailEnd/>
            </a:ln>
          </p:spPr>
          <p:txBody>
            <a:bodyPr/>
            <a:lstStyle/>
            <a:p>
              <a:endParaRPr lang="en-AU"/>
            </a:p>
          </p:txBody>
        </p:sp>
        <p:sp>
          <p:nvSpPr>
            <p:cNvPr id="28125" name="Freeform 67"/>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a:solidFill>
                <a:srgbClr val="FFFFFF"/>
              </a:solidFill>
              <a:round/>
              <a:headEnd/>
              <a:tailEnd/>
            </a:ln>
          </p:spPr>
          <p:txBody>
            <a:bodyPr/>
            <a:lstStyle/>
            <a:p>
              <a:endParaRPr lang="en-AU"/>
            </a:p>
          </p:txBody>
        </p:sp>
        <p:sp>
          <p:nvSpPr>
            <p:cNvPr id="28126" name="Freeform 68"/>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a:solidFill>
                <a:srgbClr val="FFFFFF"/>
              </a:solidFill>
              <a:round/>
              <a:headEnd/>
              <a:tailEnd/>
            </a:ln>
          </p:spPr>
          <p:txBody>
            <a:bodyPr/>
            <a:lstStyle/>
            <a:p>
              <a:endParaRPr lang="en-AU"/>
            </a:p>
          </p:txBody>
        </p:sp>
      </p:grpSp>
      <p:sp>
        <p:nvSpPr>
          <p:cNvPr id="27701" name="Freeform 69"/>
          <p:cNvSpPr>
            <a:spLocks/>
          </p:cNvSpPr>
          <p:nvPr>
            <p:custDataLst>
              <p:tags r:id="rId51"/>
            </p:custDataLst>
          </p:nvPr>
        </p:nvSpPr>
        <p:spPr bwMode="auto">
          <a:xfrm>
            <a:off x="9429750" y="4244975"/>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2" name="Freeform 70"/>
          <p:cNvSpPr>
            <a:spLocks/>
          </p:cNvSpPr>
          <p:nvPr>
            <p:custDataLst>
              <p:tags r:id="rId52"/>
            </p:custDataLst>
          </p:nvPr>
        </p:nvSpPr>
        <p:spPr bwMode="auto">
          <a:xfrm>
            <a:off x="9439276" y="4335464"/>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3" name="Freeform 71"/>
          <p:cNvSpPr>
            <a:spLocks/>
          </p:cNvSpPr>
          <p:nvPr>
            <p:custDataLst>
              <p:tags r:id="rId53"/>
            </p:custDataLst>
          </p:nvPr>
        </p:nvSpPr>
        <p:spPr bwMode="auto">
          <a:xfrm>
            <a:off x="9553575" y="4244976"/>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4" name="Freeform 72"/>
          <p:cNvSpPr>
            <a:spLocks/>
          </p:cNvSpPr>
          <p:nvPr>
            <p:custDataLst>
              <p:tags r:id="rId54"/>
            </p:custDataLst>
          </p:nvPr>
        </p:nvSpPr>
        <p:spPr bwMode="auto">
          <a:xfrm>
            <a:off x="9553575" y="4217988"/>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6" name="Group 73"/>
          <p:cNvGrpSpPr>
            <a:grpSpLocks/>
          </p:cNvGrpSpPr>
          <p:nvPr>
            <p:custDataLst>
              <p:tags r:id="rId55"/>
            </p:custDataLst>
          </p:nvPr>
        </p:nvGrpSpPr>
        <p:grpSpPr bwMode="auto">
          <a:xfrm>
            <a:off x="9244015" y="4738689"/>
            <a:ext cx="458787" cy="404812"/>
            <a:chOff x="5372" y="3323"/>
            <a:chExt cx="341" cy="253"/>
          </a:xfrm>
          <a:solidFill>
            <a:srgbClr val="336699"/>
          </a:solidFill>
        </p:grpSpPr>
        <p:sp>
          <p:nvSpPr>
            <p:cNvPr id="2122"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123"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124"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706" name="Freeform 77"/>
          <p:cNvSpPr>
            <a:spLocks/>
          </p:cNvSpPr>
          <p:nvPr>
            <p:custDataLst>
              <p:tags r:id="rId56"/>
            </p:custDataLst>
          </p:nvPr>
        </p:nvSpPr>
        <p:spPr bwMode="auto">
          <a:xfrm>
            <a:off x="8886826" y="3395663"/>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07" name="Freeform 78"/>
          <p:cNvSpPr>
            <a:spLocks/>
          </p:cNvSpPr>
          <p:nvPr>
            <p:custDataLst>
              <p:tags r:id="rId57"/>
            </p:custDataLst>
          </p:nvPr>
        </p:nvSpPr>
        <p:spPr bwMode="auto">
          <a:xfrm>
            <a:off x="9613900" y="4297363"/>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8" name="Freeform 79"/>
          <p:cNvSpPr>
            <a:spLocks/>
          </p:cNvSpPr>
          <p:nvPr>
            <p:custDataLst>
              <p:tags r:id="rId58"/>
            </p:custDataLst>
          </p:nvPr>
        </p:nvSpPr>
        <p:spPr bwMode="auto">
          <a:xfrm>
            <a:off x="9636126" y="4306889"/>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9" name="Freeform 80"/>
          <p:cNvSpPr>
            <a:spLocks/>
          </p:cNvSpPr>
          <p:nvPr>
            <p:custDataLst>
              <p:tags r:id="rId59"/>
            </p:custDataLst>
          </p:nvPr>
        </p:nvSpPr>
        <p:spPr bwMode="auto">
          <a:xfrm>
            <a:off x="8950325" y="3384551"/>
            <a:ext cx="1588" cy="55563"/>
          </a:xfrm>
          <a:custGeom>
            <a:avLst/>
            <a:gdLst>
              <a:gd name="T0" fmla="*/ 0 w 7"/>
              <a:gd name="T1" fmla="*/ 0 h 61737"/>
              <a:gd name="T2" fmla="*/ 2147483647 w 7"/>
              <a:gd name="T3" fmla="*/ 0 h 61737"/>
              <a:gd name="T4" fmla="*/ 0 w 7"/>
              <a:gd name="T5" fmla="*/ 0 h 61737"/>
              <a:gd name="T6" fmla="*/ 0 60000 65536"/>
              <a:gd name="T7" fmla="*/ 0 60000 65536"/>
              <a:gd name="T8" fmla="*/ 0 60000 65536"/>
              <a:gd name="T9" fmla="*/ 0 w 7"/>
              <a:gd name="T10" fmla="*/ 0 h 61737"/>
              <a:gd name="T11" fmla="*/ 7 w 7"/>
              <a:gd name="T12" fmla="*/ 61737 h 61737"/>
            </a:gdLst>
            <a:ahLst/>
            <a:cxnLst>
              <a:cxn ang="T6">
                <a:pos x="T0" y="T1"/>
              </a:cxn>
              <a:cxn ang="T7">
                <a:pos x="T2" y="T3"/>
              </a:cxn>
              <a:cxn ang="T8">
                <a:pos x="T4" y="T5"/>
              </a:cxn>
            </a:cxnLst>
            <a:rect l="T9" t="T10" r="T11" b="T12"/>
            <a:pathLst>
              <a:path w="7" h="61737">
                <a:moveTo>
                  <a:pt x="0" y="0"/>
                </a:moveTo>
                <a:lnTo>
                  <a:pt x="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0" name="Freeform 81"/>
          <p:cNvSpPr>
            <a:spLocks/>
          </p:cNvSpPr>
          <p:nvPr>
            <p:custDataLst>
              <p:tags r:id="rId60"/>
            </p:custDataLst>
          </p:nvPr>
        </p:nvSpPr>
        <p:spPr bwMode="auto">
          <a:xfrm>
            <a:off x="9009063" y="3328988"/>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1" name="Freeform 82"/>
          <p:cNvSpPr>
            <a:spLocks/>
          </p:cNvSpPr>
          <p:nvPr>
            <p:custDataLst>
              <p:tags r:id="rId61"/>
            </p:custDataLst>
          </p:nvPr>
        </p:nvSpPr>
        <p:spPr bwMode="auto">
          <a:xfrm>
            <a:off x="9121776" y="3217863"/>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2" name="Freeform 83"/>
          <p:cNvSpPr>
            <a:spLocks/>
          </p:cNvSpPr>
          <p:nvPr>
            <p:custDataLst>
              <p:tags r:id="rId62"/>
            </p:custDataLst>
          </p:nvPr>
        </p:nvSpPr>
        <p:spPr bwMode="auto">
          <a:xfrm>
            <a:off x="9274175" y="3916364"/>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3" name="Freeform 84"/>
          <p:cNvSpPr>
            <a:spLocks/>
          </p:cNvSpPr>
          <p:nvPr>
            <p:custDataLst>
              <p:tags r:id="rId63"/>
            </p:custDataLst>
          </p:nvPr>
        </p:nvSpPr>
        <p:spPr bwMode="auto">
          <a:xfrm>
            <a:off x="9337675" y="3930650"/>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4" name="Freeform 85"/>
          <p:cNvSpPr>
            <a:spLocks/>
          </p:cNvSpPr>
          <p:nvPr>
            <p:custDataLst>
              <p:tags r:id="rId64"/>
            </p:custDataLst>
          </p:nvPr>
        </p:nvSpPr>
        <p:spPr bwMode="auto">
          <a:xfrm>
            <a:off x="9194800" y="3706813"/>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5" name="Freeform 86"/>
          <p:cNvSpPr>
            <a:spLocks/>
          </p:cNvSpPr>
          <p:nvPr>
            <p:custDataLst>
              <p:tags r:id="rId65"/>
            </p:custDataLst>
          </p:nvPr>
        </p:nvSpPr>
        <p:spPr bwMode="auto">
          <a:xfrm>
            <a:off x="9137651" y="3681413"/>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6" name="Freeform 87"/>
          <p:cNvSpPr>
            <a:spLocks/>
          </p:cNvSpPr>
          <p:nvPr>
            <p:custDataLst>
              <p:tags r:id="rId66"/>
            </p:custDataLst>
          </p:nvPr>
        </p:nvSpPr>
        <p:spPr bwMode="auto">
          <a:xfrm>
            <a:off x="9337675" y="4013200"/>
            <a:ext cx="31750" cy="57150"/>
          </a:xfrm>
          <a:custGeom>
            <a:avLst/>
            <a:gdLst>
              <a:gd name="T0" fmla="*/ 0 w 73"/>
              <a:gd name="T1" fmla="*/ 0 h 63500"/>
              <a:gd name="T2" fmla="*/ 2147483647 w 73"/>
              <a:gd name="T3" fmla="*/ 0 h 63500"/>
              <a:gd name="T4" fmla="*/ 2147483647 w 73"/>
              <a:gd name="T5" fmla="*/ 0 h 63500"/>
              <a:gd name="T6" fmla="*/ 2147483647 w 73"/>
              <a:gd name="T7" fmla="*/ 0 h 63500"/>
              <a:gd name="T8" fmla="*/ 2147483647 w 73"/>
              <a:gd name="T9" fmla="*/ 0 h 63500"/>
              <a:gd name="T10" fmla="*/ 0 60000 65536"/>
              <a:gd name="T11" fmla="*/ 0 60000 65536"/>
              <a:gd name="T12" fmla="*/ 0 60000 65536"/>
              <a:gd name="T13" fmla="*/ 0 60000 65536"/>
              <a:gd name="T14" fmla="*/ 0 60000 65536"/>
              <a:gd name="T15" fmla="*/ 0 w 73"/>
              <a:gd name="T16" fmla="*/ 0 h 63500"/>
              <a:gd name="T17" fmla="*/ 73 w 73"/>
              <a:gd name="T18" fmla="*/ 63500 h 63500"/>
            </a:gdLst>
            <a:ahLst/>
            <a:cxnLst>
              <a:cxn ang="T10">
                <a:pos x="T0" y="T1"/>
              </a:cxn>
              <a:cxn ang="T11">
                <a:pos x="T2" y="T3"/>
              </a:cxn>
              <a:cxn ang="T12">
                <a:pos x="T4" y="T5"/>
              </a:cxn>
              <a:cxn ang="T13">
                <a:pos x="T6" y="T7"/>
              </a:cxn>
              <a:cxn ang="T14">
                <a:pos x="T8" y="T9"/>
              </a:cxn>
            </a:cxnLst>
            <a:rect l="T15" t="T16" r="T17" b="T18"/>
            <a:pathLst>
              <a:path w="73" h="63500">
                <a:moveTo>
                  <a:pt x="0" y="0"/>
                </a:moveTo>
                <a:lnTo>
                  <a:pt x="20" y="0"/>
                </a:lnTo>
                <a:lnTo>
                  <a:pt x="37" y="0"/>
                </a:lnTo>
                <a:lnTo>
                  <a:pt x="55" y="0"/>
                </a:lnTo>
                <a:lnTo>
                  <a:pt x="7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7" name="Freeform 88"/>
          <p:cNvSpPr>
            <a:spLocks/>
          </p:cNvSpPr>
          <p:nvPr>
            <p:custDataLst>
              <p:tags r:id="rId67"/>
            </p:custDataLst>
          </p:nvPr>
        </p:nvSpPr>
        <p:spPr bwMode="auto">
          <a:xfrm>
            <a:off x="9293226" y="4002088"/>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8" name="Line 89"/>
          <p:cNvSpPr>
            <a:spLocks noChangeShapeType="1"/>
          </p:cNvSpPr>
          <p:nvPr>
            <p:custDataLst>
              <p:tags r:id="rId68"/>
            </p:custDataLst>
          </p:nvPr>
        </p:nvSpPr>
        <p:spPr bwMode="auto">
          <a:xfrm>
            <a:off x="9326564"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19" name="Freeform 90"/>
          <p:cNvSpPr>
            <a:spLocks/>
          </p:cNvSpPr>
          <p:nvPr>
            <p:custDataLst>
              <p:tags r:id="rId69"/>
            </p:custDataLst>
          </p:nvPr>
        </p:nvSpPr>
        <p:spPr bwMode="auto">
          <a:xfrm>
            <a:off x="9347200" y="3994150"/>
            <a:ext cx="1588" cy="57150"/>
          </a:xfrm>
          <a:custGeom>
            <a:avLst/>
            <a:gdLst>
              <a:gd name="T0" fmla="*/ 0 w 1787"/>
              <a:gd name="T1" fmla="*/ 0 h 13"/>
              <a:gd name="T2" fmla="*/ 0 w 1787"/>
              <a:gd name="T3" fmla="*/ 2147483647 h 13"/>
              <a:gd name="T4" fmla="*/ 0 w 1787"/>
              <a:gd name="T5" fmla="*/ 2147483647 h 13"/>
              <a:gd name="T6" fmla="*/ 0 60000 65536"/>
              <a:gd name="T7" fmla="*/ 0 60000 65536"/>
              <a:gd name="T8" fmla="*/ 0 60000 65536"/>
              <a:gd name="T9" fmla="*/ 0 w 1787"/>
              <a:gd name="T10" fmla="*/ 0 h 13"/>
              <a:gd name="T11" fmla="*/ 1787 w 1787"/>
              <a:gd name="T12" fmla="*/ 13 h 13"/>
            </a:gdLst>
            <a:ahLst/>
            <a:cxnLst>
              <a:cxn ang="T6">
                <a:pos x="T0" y="T1"/>
              </a:cxn>
              <a:cxn ang="T7">
                <a:pos x="T2" y="T3"/>
              </a:cxn>
              <a:cxn ang="T8">
                <a:pos x="T4" y="T5"/>
              </a:cxn>
            </a:cxnLst>
            <a:rect l="T9" t="T10" r="T11" b="T12"/>
            <a:pathLst>
              <a:path w="1787" h="13">
                <a:moveTo>
                  <a:pt x="0" y="0"/>
                </a:moveTo>
                <a:lnTo>
                  <a:pt x="0" y="6"/>
                </a:lnTo>
                <a:lnTo>
                  <a:pt x="0"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0" name="Freeform 91"/>
          <p:cNvSpPr>
            <a:spLocks/>
          </p:cNvSpPr>
          <p:nvPr>
            <p:custDataLst>
              <p:tags r:id="rId70"/>
            </p:custDataLst>
          </p:nvPr>
        </p:nvSpPr>
        <p:spPr bwMode="auto">
          <a:xfrm>
            <a:off x="9301164" y="3987800"/>
            <a:ext cx="14287" cy="58738"/>
          </a:xfrm>
          <a:custGeom>
            <a:avLst/>
            <a:gdLst>
              <a:gd name="T0" fmla="*/ 0 w 26"/>
              <a:gd name="T1" fmla="*/ 0 h 65264"/>
              <a:gd name="T2" fmla="*/ 2147483647 w 26"/>
              <a:gd name="T3" fmla="*/ 0 h 65264"/>
              <a:gd name="T4" fmla="*/ 2147483647 w 26"/>
              <a:gd name="T5" fmla="*/ 0 h 65264"/>
              <a:gd name="T6" fmla="*/ 0 60000 65536"/>
              <a:gd name="T7" fmla="*/ 0 60000 65536"/>
              <a:gd name="T8" fmla="*/ 0 60000 65536"/>
              <a:gd name="T9" fmla="*/ 0 w 26"/>
              <a:gd name="T10" fmla="*/ 0 h 65264"/>
              <a:gd name="T11" fmla="*/ 26 w 26"/>
              <a:gd name="T12" fmla="*/ 65264 h 65264"/>
            </a:gdLst>
            <a:ahLst/>
            <a:cxnLst>
              <a:cxn ang="T6">
                <a:pos x="T0" y="T1"/>
              </a:cxn>
              <a:cxn ang="T7">
                <a:pos x="T2" y="T3"/>
              </a:cxn>
              <a:cxn ang="T8">
                <a:pos x="T4" y="T5"/>
              </a:cxn>
            </a:cxnLst>
            <a:rect l="T9" t="T10" r="T11" b="T12"/>
            <a:pathLst>
              <a:path w="26" h="65264">
                <a:moveTo>
                  <a:pt x="0" y="0"/>
                </a:moveTo>
                <a:lnTo>
                  <a:pt x="15" y="0"/>
                </a:lnTo>
                <a:lnTo>
                  <a:pt x="2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1" name="Freeform 92"/>
          <p:cNvSpPr>
            <a:spLocks/>
          </p:cNvSpPr>
          <p:nvPr>
            <p:custDataLst>
              <p:tags r:id="rId71"/>
            </p:custDataLst>
          </p:nvPr>
        </p:nvSpPr>
        <p:spPr bwMode="auto">
          <a:xfrm>
            <a:off x="9294813" y="3968751"/>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2" name="Freeform 93"/>
          <p:cNvSpPr>
            <a:spLocks/>
          </p:cNvSpPr>
          <p:nvPr>
            <p:custDataLst>
              <p:tags r:id="rId72"/>
            </p:custDataLst>
          </p:nvPr>
        </p:nvSpPr>
        <p:spPr bwMode="auto">
          <a:xfrm>
            <a:off x="9375775" y="3695700"/>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23" name="Group 94"/>
          <p:cNvGrpSpPr>
            <a:grpSpLocks/>
          </p:cNvGrpSpPr>
          <p:nvPr>
            <p:custDataLst>
              <p:tags r:id="rId73"/>
            </p:custDataLst>
          </p:nvPr>
        </p:nvGrpSpPr>
        <p:grpSpPr bwMode="auto">
          <a:xfrm>
            <a:off x="9250363" y="3367088"/>
            <a:ext cx="163512" cy="114300"/>
            <a:chOff x="5379" y="2466"/>
            <a:chExt cx="122" cy="71"/>
          </a:xfrm>
        </p:grpSpPr>
        <p:sp>
          <p:nvSpPr>
            <p:cNvPr id="28108" name="Freeform 95"/>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a:solidFill>
                <a:srgbClr val="FFFFFF"/>
              </a:solidFill>
              <a:round/>
              <a:headEnd/>
              <a:tailEnd/>
            </a:ln>
          </p:spPr>
          <p:txBody>
            <a:bodyPr/>
            <a:lstStyle/>
            <a:p>
              <a:endParaRPr lang="en-AU"/>
            </a:p>
          </p:txBody>
        </p:sp>
        <p:sp>
          <p:nvSpPr>
            <p:cNvPr id="28109" name="Freeform 96"/>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a:solidFill>
                <a:srgbClr val="FFFFFF"/>
              </a:solidFill>
              <a:round/>
              <a:headEnd/>
              <a:tailEnd/>
            </a:ln>
          </p:spPr>
          <p:txBody>
            <a:bodyPr/>
            <a:lstStyle/>
            <a:p>
              <a:endParaRPr lang="en-AU"/>
            </a:p>
          </p:txBody>
        </p:sp>
        <p:sp>
          <p:nvSpPr>
            <p:cNvPr id="28110" name="Freeform 97"/>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a:solidFill>
                <a:srgbClr val="FFFFFF"/>
              </a:solidFill>
              <a:round/>
              <a:headEnd/>
              <a:tailEnd/>
            </a:ln>
          </p:spPr>
          <p:txBody>
            <a:bodyPr/>
            <a:lstStyle/>
            <a:p>
              <a:endParaRPr lang="en-AU"/>
            </a:p>
          </p:txBody>
        </p:sp>
        <p:sp>
          <p:nvSpPr>
            <p:cNvPr id="28111" name="Freeform 98"/>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a:solidFill>
                <a:srgbClr val="FFFFFF"/>
              </a:solidFill>
              <a:round/>
              <a:headEnd/>
              <a:tailEnd/>
            </a:ln>
          </p:spPr>
          <p:txBody>
            <a:bodyPr/>
            <a:lstStyle/>
            <a:p>
              <a:endParaRPr lang="en-AU"/>
            </a:p>
          </p:txBody>
        </p:sp>
        <p:sp>
          <p:nvSpPr>
            <p:cNvPr id="28112" name="Freeform 99"/>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a:solidFill>
                <a:srgbClr val="FFFFFF"/>
              </a:solidFill>
              <a:round/>
              <a:headEnd/>
              <a:tailEnd/>
            </a:ln>
          </p:spPr>
          <p:txBody>
            <a:bodyPr/>
            <a:lstStyle/>
            <a:p>
              <a:endParaRPr lang="en-AU"/>
            </a:p>
          </p:txBody>
        </p:sp>
        <p:sp>
          <p:nvSpPr>
            <p:cNvPr id="28113"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14" name="Freeform 101"/>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a:solidFill>
                <a:srgbClr val="FFFFFF"/>
              </a:solidFill>
              <a:round/>
              <a:headEnd/>
              <a:tailEnd/>
            </a:ln>
          </p:spPr>
          <p:txBody>
            <a:bodyPr/>
            <a:lstStyle/>
            <a:p>
              <a:endParaRPr lang="en-AU"/>
            </a:p>
          </p:txBody>
        </p:sp>
        <p:sp>
          <p:nvSpPr>
            <p:cNvPr id="28115"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16" name="Freeform 103"/>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a:solidFill>
                <a:srgbClr val="FFFFFF"/>
              </a:solidFill>
              <a:round/>
              <a:headEnd/>
              <a:tailEnd/>
            </a:ln>
          </p:spPr>
          <p:txBody>
            <a:bodyPr/>
            <a:lstStyle/>
            <a:p>
              <a:endParaRPr lang="en-AU"/>
            </a:p>
          </p:txBody>
        </p:sp>
      </p:grpSp>
      <p:sp>
        <p:nvSpPr>
          <p:cNvPr id="27724" name="Freeform 104"/>
          <p:cNvSpPr>
            <a:spLocks/>
          </p:cNvSpPr>
          <p:nvPr>
            <p:custDataLst>
              <p:tags r:id="rId74"/>
            </p:custDataLst>
          </p:nvPr>
        </p:nvSpPr>
        <p:spPr bwMode="auto">
          <a:xfrm>
            <a:off x="7834313" y="3228975"/>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5" name="Freeform 105"/>
          <p:cNvSpPr>
            <a:spLocks/>
          </p:cNvSpPr>
          <p:nvPr>
            <p:custDataLst>
              <p:tags r:id="rId75"/>
            </p:custDataLst>
          </p:nvPr>
        </p:nvSpPr>
        <p:spPr bwMode="auto">
          <a:xfrm>
            <a:off x="4733926" y="5368925"/>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6" name="Freeform 106"/>
          <p:cNvSpPr>
            <a:spLocks/>
          </p:cNvSpPr>
          <p:nvPr>
            <p:custDataLst>
              <p:tags r:id="rId76"/>
            </p:custDataLst>
          </p:nvPr>
        </p:nvSpPr>
        <p:spPr bwMode="auto">
          <a:xfrm>
            <a:off x="7035801" y="5207001"/>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7" name="Freeform 107"/>
          <p:cNvSpPr>
            <a:spLocks/>
          </p:cNvSpPr>
          <p:nvPr>
            <p:custDataLst>
              <p:tags r:id="rId77"/>
            </p:custDataLst>
          </p:nvPr>
        </p:nvSpPr>
        <p:spPr bwMode="auto">
          <a:xfrm>
            <a:off x="9190039" y="1978025"/>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8" name="Freeform 108"/>
          <p:cNvSpPr>
            <a:spLocks/>
          </p:cNvSpPr>
          <p:nvPr>
            <p:custDataLst>
              <p:tags r:id="rId78"/>
            </p:custDataLst>
          </p:nvPr>
        </p:nvSpPr>
        <p:spPr bwMode="auto">
          <a:xfrm>
            <a:off x="9366251" y="201136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9" name="Freeform 109"/>
          <p:cNvSpPr>
            <a:spLocks/>
          </p:cNvSpPr>
          <p:nvPr>
            <p:custDataLst>
              <p:tags r:id="rId79"/>
            </p:custDataLst>
          </p:nvPr>
        </p:nvSpPr>
        <p:spPr bwMode="auto">
          <a:xfrm>
            <a:off x="8815388" y="2241550"/>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0" name="Freeform 110"/>
          <p:cNvSpPr>
            <a:spLocks/>
          </p:cNvSpPr>
          <p:nvPr>
            <p:custDataLst>
              <p:tags r:id="rId80"/>
            </p:custDataLst>
          </p:nvPr>
        </p:nvSpPr>
        <p:spPr bwMode="auto">
          <a:xfrm>
            <a:off x="8629650" y="2803525"/>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31" name="Freeform 111"/>
          <p:cNvSpPr>
            <a:spLocks/>
          </p:cNvSpPr>
          <p:nvPr>
            <p:custDataLst>
              <p:tags r:id="rId81"/>
            </p:custDataLst>
          </p:nvPr>
        </p:nvSpPr>
        <p:spPr bwMode="auto">
          <a:xfrm>
            <a:off x="8647114" y="2738438"/>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32" name="Freeform 112"/>
          <p:cNvSpPr>
            <a:spLocks/>
          </p:cNvSpPr>
          <p:nvPr>
            <p:custDataLst>
              <p:tags r:id="rId82"/>
            </p:custDataLst>
          </p:nvPr>
        </p:nvSpPr>
        <p:spPr bwMode="auto">
          <a:xfrm>
            <a:off x="8535989" y="2587626"/>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3" name="Freeform 113"/>
          <p:cNvSpPr>
            <a:spLocks/>
          </p:cNvSpPr>
          <p:nvPr>
            <p:custDataLst>
              <p:tags r:id="rId83"/>
            </p:custDataLst>
          </p:nvPr>
        </p:nvSpPr>
        <p:spPr bwMode="auto">
          <a:xfrm>
            <a:off x="5387976" y="1714500"/>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4" name="Freeform 114"/>
          <p:cNvSpPr>
            <a:spLocks/>
          </p:cNvSpPr>
          <p:nvPr>
            <p:custDataLst>
              <p:tags r:id="rId84"/>
            </p:custDataLst>
          </p:nvPr>
        </p:nvSpPr>
        <p:spPr bwMode="auto">
          <a:xfrm>
            <a:off x="5373689" y="1482725"/>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5" name="Freeform 115"/>
          <p:cNvSpPr>
            <a:spLocks/>
          </p:cNvSpPr>
          <p:nvPr>
            <p:custDataLst>
              <p:tags r:id="rId85"/>
            </p:custDataLst>
          </p:nvPr>
        </p:nvSpPr>
        <p:spPr bwMode="auto">
          <a:xfrm>
            <a:off x="6854825" y="3260726"/>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736" name="Freeform 116"/>
          <p:cNvSpPr>
            <a:spLocks/>
          </p:cNvSpPr>
          <p:nvPr>
            <p:custDataLst>
              <p:tags r:id="rId86"/>
            </p:custDataLst>
          </p:nvPr>
        </p:nvSpPr>
        <p:spPr bwMode="auto">
          <a:xfrm>
            <a:off x="6557963" y="3122614"/>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37" name="Group 117"/>
          <p:cNvGrpSpPr>
            <a:grpSpLocks/>
          </p:cNvGrpSpPr>
          <p:nvPr>
            <p:custDataLst>
              <p:tags r:id="rId87"/>
            </p:custDataLst>
          </p:nvPr>
        </p:nvGrpSpPr>
        <p:grpSpPr bwMode="auto">
          <a:xfrm>
            <a:off x="7329489" y="3309938"/>
            <a:ext cx="46037" cy="374650"/>
            <a:chOff x="3950" y="2430"/>
            <a:chExt cx="36" cy="234"/>
          </a:xfrm>
        </p:grpSpPr>
        <p:sp>
          <p:nvSpPr>
            <p:cNvPr id="28077" name="Freeform 118"/>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endParaRPr lang="en-AU"/>
            </a:p>
          </p:txBody>
        </p:sp>
        <p:sp>
          <p:nvSpPr>
            <p:cNvPr id="28078" name="Freeform 119"/>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79" name="Freeform 120"/>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endParaRPr lang="en-AU"/>
            </a:p>
          </p:txBody>
        </p:sp>
        <p:sp>
          <p:nvSpPr>
            <p:cNvPr id="28080"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GB" altLang="en-US" sz="1800">
                <a:latin typeface="Arial" charset="0"/>
                <a:cs typeface="Arial" charset="0"/>
              </a:endParaRPr>
            </a:p>
          </p:txBody>
        </p:sp>
        <p:sp>
          <p:nvSpPr>
            <p:cNvPr id="28081"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2" name="Freeform 123"/>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endParaRPr lang="en-AU"/>
            </a:p>
          </p:txBody>
        </p:sp>
        <p:sp>
          <p:nvSpPr>
            <p:cNvPr id="28083" name="Freeform 124"/>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endParaRPr lang="en-AU"/>
            </a:p>
          </p:txBody>
        </p:sp>
        <p:sp>
          <p:nvSpPr>
            <p:cNvPr id="28084"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5" name="Freeform 126"/>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86" name="Freeform 127"/>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endParaRPr lang="en-AU"/>
            </a:p>
          </p:txBody>
        </p:sp>
        <p:sp>
          <p:nvSpPr>
            <p:cNvPr id="28087"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8" name="Freeform 129"/>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endParaRPr lang="en-AU"/>
            </a:p>
          </p:txBody>
        </p:sp>
        <p:sp>
          <p:nvSpPr>
            <p:cNvPr id="28089" name="Freeform 130"/>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endParaRPr lang="en-AU"/>
            </a:p>
          </p:txBody>
        </p:sp>
        <p:sp>
          <p:nvSpPr>
            <p:cNvPr id="28090" name="Freeform 131"/>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endParaRPr lang="en-AU"/>
            </a:p>
          </p:txBody>
        </p:sp>
        <p:sp>
          <p:nvSpPr>
            <p:cNvPr id="28091" name="Freeform 132"/>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endParaRPr lang="en-AU"/>
            </a:p>
          </p:txBody>
        </p:sp>
        <p:sp>
          <p:nvSpPr>
            <p:cNvPr id="28092" name="Freeform 133"/>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endParaRPr lang="en-AU"/>
            </a:p>
          </p:txBody>
        </p:sp>
        <p:sp>
          <p:nvSpPr>
            <p:cNvPr id="28093" name="Freeform 134"/>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94" name="Freeform 135"/>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endParaRPr lang="en-AU"/>
            </a:p>
          </p:txBody>
        </p:sp>
        <p:sp>
          <p:nvSpPr>
            <p:cNvPr id="28095"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GB" altLang="en-US" sz="1800">
                <a:latin typeface="Arial" charset="0"/>
                <a:cs typeface="Arial" charset="0"/>
              </a:endParaRPr>
            </a:p>
          </p:txBody>
        </p:sp>
        <p:sp>
          <p:nvSpPr>
            <p:cNvPr id="28096"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97" name="Freeform 138"/>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endParaRPr lang="en-AU"/>
            </a:p>
          </p:txBody>
        </p:sp>
        <p:sp>
          <p:nvSpPr>
            <p:cNvPr id="28098" name="Freeform 139"/>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endParaRPr lang="en-AU"/>
            </a:p>
          </p:txBody>
        </p:sp>
        <p:sp>
          <p:nvSpPr>
            <p:cNvPr id="28099"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00" name="Freeform 141"/>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101" name="Freeform 142"/>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endParaRPr lang="en-AU"/>
            </a:p>
          </p:txBody>
        </p:sp>
        <p:sp>
          <p:nvSpPr>
            <p:cNvPr id="28102"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03" name="Freeform 144"/>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endParaRPr lang="en-AU"/>
            </a:p>
          </p:txBody>
        </p:sp>
        <p:sp>
          <p:nvSpPr>
            <p:cNvPr id="28104" name="Freeform 145"/>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endParaRPr lang="en-AU"/>
            </a:p>
          </p:txBody>
        </p:sp>
        <p:sp>
          <p:nvSpPr>
            <p:cNvPr id="28105" name="Freeform 146"/>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endParaRPr lang="en-AU"/>
            </a:p>
          </p:txBody>
        </p:sp>
        <p:sp>
          <p:nvSpPr>
            <p:cNvPr id="28106" name="Freeform 147"/>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endParaRPr lang="en-AU"/>
            </a:p>
          </p:txBody>
        </p:sp>
        <p:sp>
          <p:nvSpPr>
            <p:cNvPr id="28107" name="Freeform 148"/>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a:solidFill>
                <a:srgbClr val="FFFFFF"/>
              </a:solidFill>
              <a:round/>
              <a:headEnd/>
              <a:tailEnd/>
            </a:ln>
          </p:spPr>
          <p:txBody>
            <a:bodyPr/>
            <a:lstStyle/>
            <a:p>
              <a:endParaRPr lang="en-AU"/>
            </a:p>
          </p:txBody>
        </p:sp>
      </p:grpSp>
      <p:grpSp>
        <p:nvGrpSpPr>
          <p:cNvPr id="27738" name="Group 149"/>
          <p:cNvGrpSpPr>
            <a:grpSpLocks/>
          </p:cNvGrpSpPr>
          <p:nvPr>
            <p:custDataLst>
              <p:tags r:id="rId88"/>
            </p:custDataLst>
          </p:nvPr>
        </p:nvGrpSpPr>
        <p:grpSpPr bwMode="auto">
          <a:xfrm>
            <a:off x="9394825" y="3810001"/>
            <a:ext cx="185738" cy="214313"/>
            <a:chOff x="5486" y="2743"/>
            <a:chExt cx="137" cy="132"/>
          </a:xfrm>
        </p:grpSpPr>
        <p:sp>
          <p:nvSpPr>
            <p:cNvPr id="28068" name="Freeform 150"/>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a:solidFill>
                <a:srgbClr val="FFFFFF"/>
              </a:solidFill>
              <a:round/>
              <a:headEnd/>
              <a:tailEnd/>
            </a:ln>
          </p:spPr>
          <p:txBody>
            <a:bodyPr/>
            <a:lstStyle/>
            <a:p>
              <a:endParaRPr lang="en-AU"/>
            </a:p>
          </p:txBody>
        </p:sp>
        <p:sp>
          <p:nvSpPr>
            <p:cNvPr id="28069" name="Freeform 151"/>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a:solidFill>
                <a:srgbClr val="FFFFFF"/>
              </a:solidFill>
              <a:round/>
              <a:headEnd/>
              <a:tailEnd/>
            </a:ln>
          </p:spPr>
          <p:txBody>
            <a:bodyPr/>
            <a:lstStyle/>
            <a:p>
              <a:endParaRPr lang="en-AU"/>
            </a:p>
          </p:txBody>
        </p:sp>
        <p:sp>
          <p:nvSpPr>
            <p:cNvPr id="28070" name="Freeform 152"/>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a:solidFill>
                <a:srgbClr val="FFFFFF"/>
              </a:solidFill>
              <a:round/>
              <a:headEnd/>
              <a:tailEnd/>
            </a:ln>
          </p:spPr>
          <p:txBody>
            <a:bodyPr/>
            <a:lstStyle/>
            <a:p>
              <a:endParaRPr lang="en-AU"/>
            </a:p>
          </p:txBody>
        </p:sp>
        <p:sp>
          <p:nvSpPr>
            <p:cNvPr id="28071" name="Freeform 153"/>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a:solidFill>
                <a:srgbClr val="FFFFFF"/>
              </a:solidFill>
              <a:round/>
              <a:headEnd/>
              <a:tailEnd/>
            </a:ln>
          </p:spPr>
          <p:txBody>
            <a:bodyPr/>
            <a:lstStyle/>
            <a:p>
              <a:endParaRPr lang="en-AU"/>
            </a:p>
          </p:txBody>
        </p:sp>
        <p:sp>
          <p:nvSpPr>
            <p:cNvPr id="28072" name="Freeform 154"/>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a:solidFill>
                <a:srgbClr val="FFFFFF"/>
              </a:solidFill>
              <a:round/>
              <a:headEnd/>
              <a:tailEnd/>
            </a:ln>
          </p:spPr>
          <p:txBody>
            <a:bodyPr/>
            <a:lstStyle/>
            <a:p>
              <a:endParaRPr lang="en-AU"/>
            </a:p>
          </p:txBody>
        </p:sp>
        <p:sp>
          <p:nvSpPr>
            <p:cNvPr id="28073" name="Freeform 155"/>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a:solidFill>
                <a:srgbClr val="FFFFFF"/>
              </a:solidFill>
              <a:round/>
              <a:headEnd/>
              <a:tailEnd/>
            </a:ln>
          </p:spPr>
          <p:txBody>
            <a:bodyPr/>
            <a:lstStyle/>
            <a:p>
              <a:endParaRPr lang="en-AU"/>
            </a:p>
          </p:txBody>
        </p:sp>
        <p:sp>
          <p:nvSpPr>
            <p:cNvPr id="28074" name="Freeform 156"/>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a:solidFill>
                <a:srgbClr val="FFFFFF"/>
              </a:solidFill>
              <a:round/>
              <a:headEnd/>
              <a:tailEnd/>
            </a:ln>
          </p:spPr>
          <p:txBody>
            <a:bodyPr/>
            <a:lstStyle/>
            <a:p>
              <a:endParaRPr lang="en-AU"/>
            </a:p>
          </p:txBody>
        </p:sp>
        <p:sp>
          <p:nvSpPr>
            <p:cNvPr id="28075" name="Freeform 157"/>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a:solidFill>
                <a:srgbClr val="FFFFFF"/>
              </a:solidFill>
              <a:round/>
              <a:headEnd/>
              <a:tailEnd/>
            </a:ln>
          </p:spPr>
          <p:txBody>
            <a:bodyPr/>
            <a:lstStyle/>
            <a:p>
              <a:endParaRPr lang="en-AU"/>
            </a:p>
          </p:txBody>
        </p:sp>
        <p:sp>
          <p:nvSpPr>
            <p:cNvPr id="28076" name="Freeform 158"/>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a:solidFill>
                <a:srgbClr val="FFFFFF"/>
              </a:solidFill>
              <a:round/>
              <a:headEnd/>
              <a:tailEnd/>
            </a:ln>
          </p:spPr>
          <p:txBody>
            <a:bodyPr/>
            <a:lstStyle/>
            <a:p>
              <a:endParaRPr lang="en-AU"/>
            </a:p>
          </p:txBody>
        </p:sp>
      </p:grpSp>
      <p:sp>
        <p:nvSpPr>
          <p:cNvPr id="27739" name="Freeform 159"/>
          <p:cNvSpPr>
            <a:spLocks/>
          </p:cNvSpPr>
          <p:nvPr>
            <p:custDataLst>
              <p:tags r:id="rId89"/>
            </p:custDataLst>
          </p:nvPr>
        </p:nvSpPr>
        <p:spPr bwMode="auto">
          <a:xfrm>
            <a:off x="5740401" y="3548063"/>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0" name="Freeform 160"/>
          <p:cNvSpPr>
            <a:spLocks/>
          </p:cNvSpPr>
          <p:nvPr>
            <p:custDataLst>
              <p:tags r:id="rId90"/>
            </p:custDataLst>
          </p:nvPr>
        </p:nvSpPr>
        <p:spPr bwMode="auto">
          <a:xfrm>
            <a:off x="5664200" y="3687763"/>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1" name="Freeform 161"/>
          <p:cNvSpPr>
            <a:spLocks/>
          </p:cNvSpPr>
          <p:nvPr>
            <p:custDataLst>
              <p:tags r:id="rId91"/>
            </p:custDataLst>
          </p:nvPr>
        </p:nvSpPr>
        <p:spPr bwMode="auto">
          <a:xfrm>
            <a:off x="7462838" y="2014539"/>
            <a:ext cx="728662"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42" name="Freeform 162"/>
          <p:cNvSpPr>
            <a:spLocks/>
          </p:cNvSpPr>
          <p:nvPr>
            <p:custDataLst>
              <p:tags r:id="rId92"/>
            </p:custDataLst>
          </p:nvPr>
        </p:nvSpPr>
        <p:spPr bwMode="auto">
          <a:xfrm>
            <a:off x="3789363" y="3981451"/>
            <a:ext cx="328612"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43" name="Freeform 163"/>
          <p:cNvSpPr>
            <a:spLocks/>
          </p:cNvSpPr>
          <p:nvPr>
            <p:custDataLst>
              <p:tags r:id="rId93"/>
            </p:custDataLst>
          </p:nvPr>
        </p:nvSpPr>
        <p:spPr bwMode="auto">
          <a:xfrm>
            <a:off x="4003676" y="3411538"/>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44" name="Group 164"/>
          <p:cNvGrpSpPr>
            <a:grpSpLocks/>
          </p:cNvGrpSpPr>
          <p:nvPr>
            <p:custDataLst>
              <p:tags r:id="rId94"/>
            </p:custDataLst>
          </p:nvPr>
        </p:nvGrpSpPr>
        <p:grpSpPr bwMode="auto">
          <a:xfrm>
            <a:off x="3717925" y="3246439"/>
            <a:ext cx="323850" cy="401637"/>
            <a:chOff x="1486" y="2412"/>
            <a:chExt cx="244" cy="256"/>
          </a:xfrm>
        </p:grpSpPr>
        <p:sp>
          <p:nvSpPr>
            <p:cNvPr id="28064" name="Freeform 165"/>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65" name="Freeform 166"/>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66" name="Freeform 167"/>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67" name="Freeform 168"/>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a:solidFill>
                <a:srgbClr val="FFFFFF"/>
              </a:solidFill>
              <a:round/>
              <a:headEnd/>
              <a:tailEnd/>
            </a:ln>
          </p:spPr>
          <p:txBody>
            <a:bodyPr lIns="91434" tIns="45717" rIns="91434" bIns="45717"/>
            <a:lstStyle/>
            <a:p>
              <a:endParaRPr lang="en-AU" dirty="0"/>
            </a:p>
          </p:txBody>
        </p:sp>
      </p:grpSp>
      <p:sp>
        <p:nvSpPr>
          <p:cNvPr id="27745" name="Freeform 169"/>
          <p:cNvSpPr>
            <a:spLocks/>
          </p:cNvSpPr>
          <p:nvPr>
            <p:custDataLst>
              <p:tags r:id="rId95"/>
            </p:custDataLst>
          </p:nvPr>
        </p:nvSpPr>
        <p:spPr bwMode="auto">
          <a:xfrm>
            <a:off x="8739188" y="4786313"/>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6" name="Freeform 170"/>
          <p:cNvSpPr>
            <a:spLocks/>
          </p:cNvSpPr>
          <p:nvPr>
            <p:custDataLst>
              <p:tags r:id="rId96"/>
            </p:custDataLst>
          </p:nvPr>
        </p:nvSpPr>
        <p:spPr bwMode="auto">
          <a:xfrm>
            <a:off x="8855075" y="4919663"/>
            <a:ext cx="1588" cy="4762"/>
          </a:xfrm>
          <a:custGeom>
            <a:avLst/>
            <a:gdLst>
              <a:gd name="T0" fmla="*/ 0 w 1787"/>
              <a:gd name="T1" fmla="*/ 0 h 6"/>
              <a:gd name="T2" fmla="*/ 0 w 1787"/>
              <a:gd name="T3" fmla="*/ 2147483647 h 6"/>
              <a:gd name="T4" fmla="*/ 0 w 1787"/>
              <a:gd name="T5" fmla="*/ 0 h 6"/>
              <a:gd name="T6" fmla="*/ 0 60000 65536"/>
              <a:gd name="T7" fmla="*/ 0 60000 65536"/>
              <a:gd name="T8" fmla="*/ 0 60000 65536"/>
              <a:gd name="T9" fmla="*/ 0 w 1787"/>
              <a:gd name="T10" fmla="*/ 0 h 6"/>
              <a:gd name="T11" fmla="*/ 1787 w 1787"/>
              <a:gd name="T12" fmla="*/ 6 h 6"/>
            </a:gdLst>
            <a:ahLst/>
            <a:cxnLst>
              <a:cxn ang="T6">
                <a:pos x="T0" y="T1"/>
              </a:cxn>
              <a:cxn ang="T7">
                <a:pos x="T2" y="T3"/>
              </a:cxn>
              <a:cxn ang="T8">
                <a:pos x="T4" y="T5"/>
              </a:cxn>
            </a:cxnLst>
            <a:rect l="T9" t="T10" r="T11" b="T12"/>
            <a:pathLst>
              <a:path w="1787" h="6">
                <a:moveTo>
                  <a:pt x="0" y="0"/>
                </a:moveTo>
                <a:lnTo>
                  <a:pt x="0" y="6"/>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7" name="Line 171"/>
          <p:cNvSpPr>
            <a:spLocks noChangeShapeType="1"/>
          </p:cNvSpPr>
          <p:nvPr>
            <p:custDataLst>
              <p:tags r:id="rId97"/>
            </p:custDataLst>
          </p:nvPr>
        </p:nvSpPr>
        <p:spPr bwMode="auto">
          <a:xfrm flipV="1">
            <a:off x="8945564"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48" name="Freeform 172"/>
          <p:cNvSpPr>
            <a:spLocks/>
          </p:cNvSpPr>
          <p:nvPr>
            <p:custDataLst>
              <p:tags r:id="rId98"/>
            </p:custDataLst>
          </p:nvPr>
        </p:nvSpPr>
        <p:spPr bwMode="auto">
          <a:xfrm>
            <a:off x="8945564" y="4918076"/>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9" name="Freeform 173"/>
          <p:cNvSpPr>
            <a:spLocks/>
          </p:cNvSpPr>
          <p:nvPr>
            <p:custDataLst>
              <p:tags r:id="rId99"/>
            </p:custDataLst>
          </p:nvPr>
        </p:nvSpPr>
        <p:spPr bwMode="auto">
          <a:xfrm>
            <a:off x="9244014" y="4387851"/>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0" name="Freeform 174"/>
          <p:cNvSpPr>
            <a:spLocks/>
          </p:cNvSpPr>
          <p:nvPr>
            <p:custDataLst>
              <p:tags r:id="rId100"/>
            </p:custDataLst>
          </p:nvPr>
        </p:nvSpPr>
        <p:spPr bwMode="auto">
          <a:xfrm>
            <a:off x="9250364" y="4314825"/>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1" name="Freeform 175"/>
          <p:cNvSpPr>
            <a:spLocks/>
          </p:cNvSpPr>
          <p:nvPr>
            <p:custDataLst>
              <p:tags r:id="rId101"/>
            </p:custDataLst>
          </p:nvPr>
        </p:nvSpPr>
        <p:spPr bwMode="auto">
          <a:xfrm>
            <a:off x="9226551" y="4291013"/>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2" name="Freeform 176"/>
          <p:cNvSpPr>
            <a:spLocks/>
          </p:cNvSpPr>
          <p:nvPr>
            <p:custDataLst>
              <p:tags r:id="rId102"/>
            </p:custDataLst>
          </p:nvPr>
        </p:nvSpPr>
        <p:spPr bwMode="auto">
          <a:xfrm>
            <a:off x="9145588" y="4168776"/>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3" name="Line 177"/>
          <p:cNvSpPr>
            <a:spLocks noChangeShapeType="1"/>
          </p:cNvSpPr>
          <p:nvPr>
            <p:custDataLst>
              <p:tags r:id="rId103"/>
            </p:custDataLst>
          </p:nvPr>
        </p:nvSpPr>
        <p:spPr bwMode="auto">
          <a:xfrm flipH="1" flipV="1">
            <a:off x="9139238" y="4135439"/>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54" name="Freeform 178"/>
          <p:cNvSpPr>
            <a:spLocks/>
          </p:cNvSpPr>
          <p:nvPr>
            <p:custDataLst>
              <p:tags r:id="rId104"/>
            </p:custDataLst>
          </p:nvPr>
        </p:nvSpPr>
        <p:spPr bwMode="auto">
          <a:xfrm>
            <a:off x="9139238" y="4119564"/>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5" name="Line 179"/>
          <p:cNvSpPr>
            <a:spLocks noChangeShapeType="1"/>
          </p:cNvSpPr>
          <p:nvPr>
            <p:custDataLst>
              <p:tags r:id="rId105"/>
            </p:custDataLst>
          </p:nvPr>
        </p:nvSpPr>
        <p:spPr bwMode="auto">
          <a:xfrm flipV="1">
            <a:off x="9145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56" name="Freeform 180"/>
          <p:cNvSpPr>
            <a:spLocks/>
          </p:cNvSpPr>
          <p:nvPr>
            <p:custDataLst>
              <p:tags r:id="rId106"/>
            </p:custDataLst>
          </p:nvPr>
        </p:nvSpPr>
        <p:spPr bwMode="auto">
          <a:xfrm>
            <a:off x="9099550" y="4040189"/>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7" name="Freeform 181"/>
          <p:cNvSpPr>
            <a:spLocks/>
          </p:cNvSpPr>
          <p:nvPr>
            <p:custDataLst>
              <p:tags r:id="rId107"/>
            </p:custDataLst>
          </p:nvPr>
        </p:nvSpPr>
        <p:spPr bwMode="auto">
          <a:xfrm>
            <a:off x="9113839" y="3983038"/>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8" name="Freeform 182"/>
          <p:cNvSpPr>
            <a:spLocks/>
          </p:cNvSpPr>
          <p:nvPr>
            <p:custDataLst>
              <p:tags r:id="rId108"/>
            </p:custDataLst>
          </p:nvPr>
        </p:nvSpPr>
        <p:spPr bwMode="auto">
          <a:xfrm>
            <a:off x="9120189" y="3976688"/>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9" name="Freeform 183"/>
          <p:cNvSpPr>
            <a:spLocks/>
          </p:cNvSpPr>
          <p:nvPr>
            <p:custDataLst>
              <p:tags r:id="rId109"/>
            </p:custDataLst>
          </p:nvPr>
        </p:nvSpPr>
        <p:spPr bwMode="auto">
          <a:xfrm>
            <a:off x="9136064" y="3957639"/>
            <a:ext cx="1587" cy="22225"/>
          </a:xfrm>
          <a:custGeom>
            <a:avLst/>
            <a:gdLst>
              <a:gd name="T0" fmla="*/ 0 w 1785"/>
              <a:gd name="T1" fmla="*/ 0 h 43"/>
              <a:gd name="T2" fmla="*/ 0 w 1785"/>
              <a:gd name="T3" fmla="*/ 2147483647 h 43"/>
              <a:gd name="T4" fmla="*/ 0 w 1785"/>
              <a:gd name="T5" fmla="*/ 2147483647 h 43"/>
              <a:gd name="T6" fmla="*/ 0 w 1785"/>
              <a:gd name="T7" fmla="*/ 2147483647 h 43"/>
              <a:gd name="T8" fmla="*/ 0 w 1785"/>
              <a:gd name="T9" fmla="*/ 2147483647 h 43"/>
              <a:gd name="T10" fmla="*/ 0 60000 65536"/>
              <a:gd name="T11" fmla="*/ 0 60000 65536"/>
              <a:gd name="T12" fmla="*/ 0 60000 65536"/>
              <a:gd name="T13" fmla="*/ 0 60000 65536"/>
              <a:gd name="T14" fmla="*/ 0 60000 65536"/>
              <a:gd name="T15" fmla="*/ 0 w 1785"/>
              <a:gd name="T16" fmla="*/ 0 h 43"/>
              <a:gd name="T17" fmla="*/ 1785 w 1785"/>
              <a:gd name="T18" fmla="*/ 43 h 43"/>
            </a:gdLst>
            <a:ahLst/>
            <a:cxnLst>
              <a:cxn ang="T10">
                <a:pos x="T0" y="T1"/>
              </a:cxn>
              <a:cxn ang="T11">
                <a:pos x="T2" y="T3"/>
              </a:cxn>
              <a:cxn ang="T12">
                <a:pos x="T4" y="T5"/>
              </a:cxn>
              <a:cxn ang="T13">
                <a:pos x="T6" y="T7"/>
              </a:cxn>
              <a:cxn ang="T14">
                <a:pos x="T8" y="T9"/>
              </a:cxn>
            </a:cxnLst>
            <a:rect l="T15" t="T16" r="T17" b="T18"/>
            <a:pathLst>
              <a:path w="1785" h="43">
                <a:moveTo>
                  <a:pt x="0" y="0"/>
                </a:moveTo>
                <a:lnTo>
                  <a:pt x="0" y="13"/>
                </a:lnTo>
                <a:lnTo>
                  <a:pt x="0" y="26"/>
                </a:lnTo>
                <a:lnTo>
                  <a:pt x="0" y="37"/>
                </a:lnTo>
                <a:lnTo>
                  <a:pt x="0"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0" name="Line 184"/>
          <p:cNvSpPr>
            <a:spLocks noChangeShapeType="1"/>
          </p:cNvSpPr>
          <p:nvPr>
            <p:custDataLst>
              <p:tags r:id="rId110"/>
            </p:custDataLst>
          </p:nvPr>
        </p:nvSpPr>
        <p:spPr bwMode="auto">
          <a:xfrm flipV="1">
            <a:off x="9136064" y="3976689"/>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61" name="Freeform 185"/>
          <p:cNvSpPr>
            <a:spLocks/>
          </p:cNvSpPr>
          <p:nvPr>
            <p:custDataLst>
              <p:tags r:id="rId111"/>
            </p:custDataLst>
          </p:nvPr>
        </p:nvSpPr>
        <p:spPr bwMode="auto">
          <a:xfrm>
            <a:off x="9120189" y="3960814"/>
            <a:ext cx="1587" cy="15875"/>
          </a:xfrm>
          <a:custGeom>
            <a:avLst/>
            <a:gdLst>
              <a:gd name="T0" fmla="*/ 0 w 1785"/>
              <a:gd name="T1" fmla="*/ 2147483647 h 31"/>
              <a:gd name="T2" fmla="*/ 0 w 1785"/>
              <a:gd name="T3" fmla="*/ 2147483647 h 31"/>
              <a:gd name="T4" fmla="*/ 0 w 1785"/>
              <a:gd name="T5" fmla="*/ 2147483647 h 31"/>
              <a:gd name="T6" fmla="*/ 0 w 1785"/>
              <a:gd name="T7" fmla="*/ 2147483647 h 31"/>
              <a:gd name="T8" fmla="*/ 0 w 1785"/>
              <a:gd name="T9" fmla="*/ 0 h 31"/>
              <a:gd name="T10" fmla="*/ 0 60000 65536"/>
              <a:gd name="T11" fmla="*/ 0 60000 65536"/>
              <a:gd name="T12" fmla="*/ 0 60000 65536"/>
              <a:gd name="T13" fmla="*/ 0 60000 65536"/>
              <a:gd name="T14" fmla="*/ 0 60000 65536"/>
              <a:gd name="T15" fmla="*/ 0 w 1785"/>
              <a:gd name="T16" fmla="*/ 0 h 31"/>
              <a:gd name="T17" fmla="*/ 1785 w 1785"/>
              <a:gd name="T18" fmla="*/ 31 h 31"/>
            </a:gdLst>
            <a:ahLst/>
            <a:cxnLst>
              <a:cxn ang="T10">
                <a:pos x="T0" y="T1"/>
              </a:cxn>
              <a:cxn ang="T11">
                <a:pos x="T2" y="T3"/>
              </a:cxn>
              <a:cxn ang="T12">
                <a:pos x="T4" y="T5"/>
              </a:cxn>
              <a:cxn ang="T13">
                <a:pos x="T6" y="T7"/>
              </a:cxn>
              <a:cxn ang="T14">
                <a:pos x="T8" y="T9"/>
              </a:cxn>
            </a:cxnLst>
            <a:rect l="T15" t="T16" r="T17" b="T18"/>
            <a:pathLst>
              <a:path w="1785" h="31">
                <a:moveTo>
                  <a:pt x="0" y="31"/>
                </a:moveTo>
                <a:lnTo>
                  <a:pt x="0" y="22"/>
                </a:lnTo>
                <a:lnTo>
                  <a:pt x="0" y="15"/>
                </a:lnTo>
                <a:lnTo>
                  <a:pt x="0" y="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2" name="Freeform 186"/>
          <p:cNvSpPr>
            <a:spLocks/>
          </p:cNvSpPr>
          <p:nvPr>
            <p:custDataLst>
              <p:tags r:id="rId112"/>
            </p:custDataLst>
          </p:nvPr>
        </p:nvSpPr>
        <p:spPr bwMode="auto">
          <a:xfrm>
            <a:off x="8840789" y="4949826"/>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3" name="Freeform 187"/>
          <p:cNvSpPr>
            <a:spLocks/>
          </p:cNvSpPr>
          <p:nvPr>
            <p:custDataLst>
              <p:tags r:id="rId113"/>
            </p:custDataLst>
          </p:nvPr>
        </p:nvSpPr>
        <p:spPr bwMode="auto">
          <a:xfrm>
            <a:off x="8978901" y="4168776"/>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4" name="Freeform 188"/>
          <p:cNvSpPr>
            <a:spLocks/>
          </p:cNvSpPr>
          <p:nvPr>
            <p:custDataLst>
              <p:tags r:id="rId114"/>
            </p:custDataLst>
          </p:nvPr>
        </p:nvSpPr>
        <p:spPr bwMode="auto">
          <a:xfrm>
            <a:off x="8912226" y="4090989"/>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5" name="Freeform 189"/>
          <p:cNvSpPr>
            <a:spLocks/>
          </p:cNvSpPr>
          <p:nvPr>
            <p:custDataLst>
              <p:tags r:id="rId115"/>
            </p:custDataLst>
          </p:nvPr>
        </p:nvSpPr>
        <p:spPr bwMode="auto">
          <a:xfrm>
            <a:off x="8928101" y="4003676"/>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6" name="Freeform 190"/>
          <p:cNvSpPr>
            <a:spLocks/>
          </p:cNvSpPr>
          <p:nvPr>
            <p:custDataLst>
              <p:tags r:id="rId116"/>
            </p:custDataLst>
          </p:nvPr>
        </p:nvSpPr>
        <p:spPr bwMode="auto">
          <a:xfrm>
            <a:off x="8767763" y="4006851"/>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7" name="Freeform 191"/>
          <p:cNvSpPr>
            <a:spLocks/>
          </p:cNvSpPr>
          <p:nvPr>
            <p:custDataLst>
              <p:tags r:id="rId117"/>
            </p:custDataLst>
          </p:nvPr>
        </p:nvSpPr>
        <p:spPr bwMode="auto">
          <a:xfrm>
            <a:off x="9012239" y="4470400"/>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8" name="Freeform 192"/>
          <p:cNvSpPr>
            <a:spLocks/>
          </p:cNvSpPr>
          <p:nvPr>
            <p:custDataLst>
              <p:tags r:id="rId118"/>
            </p:custDataLst>
          </p:nvPr>
        </p:nvSpPr>
        <p:spPr bwMode="auto">
          <a:xfrm>
            <a:off x="8248651" y="3976688"/>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9" name="Freeform 193"/>
          <p:cNvSpPr>
            <a:spLocks/>
          </p:cNvSpPr>
          <p:nvPr>
            <p:custDataLst>
              <p:tags r:id="rId119"/>
            </p:custDataLst>
          </p:nvPr>
        </p:nvSpPr>
        <p:spPr bwMode="auto">
          <a:xfrm>
            <a:off x="2735264" y="2643189"/>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70" name="Freeform 194"/>
          <p:cNvSpPr>
            <a:spLocks/>
          </p:cNvSpPr>
          <p:nvPr>
            <p:custDataLst>
              <p:tags r:id="rId120"/>
            </p:custDataLst>
          </p:nvPr>
        </p:nvSpPr>
        <p:spPr bwMode="auto">
          <a:xfrm>
            <a:off x="4010025" y="4283076"/>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71" name="Freeform 195"/>
          <p:cNvSpPr>
            <a:spLocks/>
          </p:cNvSpPr>
          <p:nvPr>
            <p:custDataLst>
              <p:tags r:id="rId121"/>
            </p:custDataLst>
          </p:nvPr>
        </p:nvSpPr>
        <p:spPr bwMode="auto">
          <a:xfrm>
            <a:off x="4179889" y="3487739"/>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2" name="Freeform 196"/>
          <p:cNvSpPr>
            <a:spLocks/>
          </p:cNvSpPr>
          <p:nvPr>
            <p:custDataLst>
              <p:tags r:id="rId122"/>
            </p:custDataLst>
          </p:nvPr>
        </p:nvSpPr>
        <p:spPr bwMode="auto">
          <a:xfrm>
            <a:off x="3694113" y="3046414"/>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3" name="Freeform 197"/>
          <p:cNvSpPr>
            <a:spLocks/>
          </p:cNvSpPr>
          <p:nvPr>
            <p:custDataLst>
              <p:tags r:id="rId123"/>
            </p:custDataLst>
          </p:nvPr>
        </p:nvSpPr>
        <p:spPr bwMode="auto">
          <a:xfrm>
            <a:off x="4060826"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4" name="Freeform 198"/>
          <p:cNvSpPr>
            <a:spLocks/>
          </p:cNvSpPr>
          <p:nvPr>
            <p:custDataLst>
              <p:tags r:id="rId124"/>
            </p:custDataLst>
          </p:nvPr>
        </p:nvSpPr>
        <p:spPr bwMode="auto">
          <a:xfrm>
            <a:off x="4025901" y="5380039"/>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5" name="Freeform 199"/>
          <p:cNvSpPr>
            <a:spLocks/>
          </p:cNvSpPr>
          <p:nvPr>
            <p:custDataLst>
              <p:tags r:id="rId125"/>
            </p:custDataLst>
          </p:nvPr>
        </p:nvSpPr>
        <p:spPr bwMode="auto">
          <a:xfrm>
            <a:off x="4025901" y="5359401"/>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6" name="Freeform 200"/>
          <p:cNvSpPr>
            <a:spLocks/>
          </p:cNvSpPr>
          <p:nvPr>
            <p:custDataLst>
              <p:tags r:id="rId126"/>
            </p:custDataLst>
          </p:nvPr>
        </p:nvSpPr>
        <p:spPr bwMode="auto">
          <a:xfrm>
            <a:off x="3995738" y="5353051"/>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7" name="Freeform 201"/>
          <p:cNvSpPr>
            <a:spLocks/>
          </p:cNvSpPr>
          <p:nvPr>
            <p:custDataLst>
              <p:tags r:id="rId127"/>
            </p:custDataLst>
          </p:nvPr>
        </p:nvSpPr>
        <p:spPr bwMode="auto">
          <a:xfrm>
            <a:off x="3970339" y="5343525"/>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8" name="Freeform 202"/>
          <p:cNvSpPr>
            <a:spLocks/>
          </p:cNvSpPr>
          <p:nvPr>
            <p:custDataLst>
              <p:tags r:id="rId128"/>
            </p:custDataLst>
          </p:nvPr>
        </p:nvSpPr>
        <p:spPr bwMode="auto">
          <a:xfrm>
            <a:off x="3946525" y="5330825"/>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9" name="Freeform 203"/>
          <p:cNvSpPr>
            <a:spLocks/>
          </p:cNvSpPr>
          <p:nvPr>
            <p:custDataLst>
              <p:tags r:id="rId129"/>
            </p:custDataLst>
          </p:nvPr>
        </p:nvSpPr>
        <p:spPr bwMode="auto">
          <a:xfrm>
            <a:off x="3940176" y="5311775"/>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0" name="Freeform 204"/>
          <p:cNvSpPr>
            <a:spLocks/>
          </p:cNvSpPr>
          <p:nvPr>
            <p:custDataLst>
              <p:tags r:id="rId130"/>
            </p:custDataLst>
          </p:nvPr>
        </p:nvSpPr>
        <p:spPr bwMode="auto">
          <a:xfrm>
            <a:off x="3840163" y="5002214"/>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1" name="Freeform 205"/>
          <p:cNvSpPr>
            <a:spLocks/>
          </p:cNvSpPr>
          <p:nvPr>
            <p:custDataLst>
              <p:tags r:id="rId131"/>
            </p:custDataLst>
          </p:nvPr>
        </p:nvSpPr>
        <p:spPr bwMode="auto">
          <a:xfrm>
            <a:off x="3870326" y="5097464"/>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2" name="Freeform 206"/>
          <p:cNvSpPr>
            <a:spLocks/>
          </p:cNvSpPr>
          <p:nvPr>
            <p:custDataLst>
              <p:tags r:id="rId132"/>
            </p:custDataLst>
          </p:nvPr>
        </p:nvSpPr>
        <p:spPr bwMode="auto">
          <a:xfrm>
            <a:off x="3875089" y="5119689"/>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3" name="Freeform 207"/>
          <p:cNvSpPr>
            <a:spLocks/>
          </p:cNvSpPr>
          <p:nvPr>
            <p:custDataLst>
              <p:tags r:id="rId133"/>
            </p:custDataLst>
          </p:nvPr>
        </p:nvSpPr>
        <p:spPr bwMode="auto">
          <a:xfrm>
            <a:off x="3889376" y="5181601"/>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4" name="Freeform 208"/>
          <p:cNvSpPr>
            <a:spLocks/>
          </p:cNvSpPr>
          <p:nvPr>
            <p:custDataLst>
              <p:tags r:id="rId134"/>
            </p:custDataLst>
          </p:nvPr>
        </p:nvSpPr>
        <p:spPr bwMode="auto">
          <a:xfrm>
            <a:off x="3876675" y="5194300"/>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5" name="Freeform 209"/>
          <p:cNvSpPr>
            <a:spLocks/>
          </p:cNvSpPr>
          <p:nvPr>
            <p:custDataLst>
              <p:tags r:id="rId135"/>
            </p:custDataLst>
          </p:nvPr>
        </p:nvSpPr>
        <p:spPr bwMode="auto">
          <a:xfrm>
            <a:off x="3906838" y="5227639"/>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6" name="Freeform 210"/>
          <p:cNvSpPr>
            <a:spLocks/>
          </p:cNvSpPr>
          <p:nvPr>
            <p:custDataLst>
              <p:tags r:id="rId136"/>
            </p:custDataLst>
          </p:nvPr>
        </p:nvSpPr>
        <p:spPr bwMode="auto">
          <a:xfrm>
            <a:off x="3903664" y="5260976"/>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7" name="Freeform 211"/>
          <p:cNvSpPr>
            <a:spLocks/>
          </p:cNvSpPr>
          <p:nvPr>
            <p:custDataLst>
              <p:tags r:id="rId137"/>
            </p:custDataLst>
          </p:nvPr>
        </p:nvSpPr>
        <p:spPr bwMode="auto">
          <a:xfrm>
            <a:off x="3927476" y="5275263"/>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8" name="Freeform 212"/>
          <p:cNvSpPr>
            <a:spLocks/>
          </p:cNvSpPr>
          <p:nvPr>
            <p:custDataLst>
              <p:tags r:id="rId138"/>
            </p:custDataLst>
          </p:nvPr>
        </p:nvSpPr>
        <p:spPr bwMode="auto">
          <a:xfrm>
            <a:off x="3929063" y="5303838"/>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9" name="Freeform 213"/>
          <p:cNvSpPr>
            <a:spLocks/>
          </p:cNvSpPr>
          <p:nvPr>
            <p:custDataLst>
              <p:tags r:id="rId139"/>
            </p:custDataLst>
          </p:nvPr>
        </p:nvSpPr>
        <p:spPr bwMode="auto">
          <a:xfrm>
            <a:off x="4003676" y="5373688"/>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0" name="Freeform 214"/>
          <p:cNvSpPr>
            <a:spLocks/>
          </p:cNvSpPr>
          <p:nvPr>
            <p:custDataLst>
              <p:tags r:id="rId140"/>
            </p:custDataLst>
          </p:nvPr>
        </p:nvSpPr>
        <p:spPr bwMode="auto">
          <a:xfrm>
            <a:off x="4041776" y="5314951"/>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1" name="Freeform 215"/>
          <p:cNvSpPr>
            <a:spLocks/>
          </p:cNvSpPr>
          <p:nvPr>
            <p:custDataLst>
              <p:tags r:id="rId141"/>
            </p:custDataLst>
          </p:nvPr>
        </p:nvSpPr>
        <p:spPr bwMode="auto">
          <a:xfrm>
            <a:off x="3594100" y="3081339"/>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2" name="Freeform 216"/>
          <p:cNvSpPr>
            <a:spLocks/>
          </p:cNvSpPr>
          <p:nvPr>
            <p:custDataLst>
              <p:tags r:id="rId142"/>
            </p:custDataLst>
          </p:nvPr>
        </p:nvSpPr>
        <p:spPr bwMode="auto">
          <a:xfrm>
            <a:off x="3451226" y="2943225"/>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3" name="Freeform 217"/>
          <p:cNvSpPr>
            <a:spLocks/>
          </p:cNvSpPr>
          <p:nvPr>
            <p:custDataLst>
              <p:tags r:id="rId143"/>
            </p:custDataLst>
          </p:nvPr>
        </p:nvSpPr>
        <p:spPr bwMode="auto">
          <a:xfrm>
            <a:off x="3756025" y="3046413"/>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4" name="Freeform 218"/>
          <p:cNvSpPr>
            <a:spLocks/>
          </p:cNvSpPr>
          <p:nvPr>
            <p:custDataLst>
              <p:tags r:id="rId144"/>
            </p:custDataLst>
          </p:nvPr>
        </p:nvSpPr>
        <p:spPr bwMode="auto">
          <a:xfrm>
            <a:off x="3324225" y="3106739"/>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5" name="Freeform 219"/>
          <p:cNvSpPr>
            <a:spLocks/>
          </p:cNvSpPr>
          <p:nvPr>
            <p:custDataLst>
              <p:tags r:id="rId145"/>
            </p:custDataLst>
          </p:nvPr>
        </p:nvSpPr>
        <p:spPr bwMode="auto">
          <a:xfrm>
            <a:off x="3244851" y="3106738"/>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6" name="Freeform 220"/>
          <p:cNvSpPr>
            <a:spLocks/>
          </p:cNvSpPr>
          <p:nvPr>
            <p:custDataLst>
              <p:tags r:id="rId146"/>
            </p:custDataLst>
          </p:nvPr>
        </p:nvSpPr>
        <p:spPr bwMode="auto">
          <a:xfrm>
            <a:off x="3292475" y="3217863"/>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7" name="Freeform 221"/>
          <p:cNvSpPr>
            <a:spLocks/>
          </p:cNvSpPr>
          <p:nvPr>
            <p:custDataLst>
              <p:tags r:id="rId147"/>
            </p:custDataLst>
          </p:nvPr>
        </p:nvSpPr>
        <p:spPr bwMode="auto">
          <a:xfrm>
            <a:off x="3324226" y="3179763"/>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8" name="Freeform 222"/>
          <p:cNvSpPr>
            <a:spLocks/>
          </p:cNvSpPr>
          <p:nvPr>
            <p:custDataLst>
              <p:tags r:id="rId148"/>
            </p:custDataLst>
          </p:nvPr>
        </p:nvSpPr>
        <p:spPr bwMode="auto">
          <a:xfrm>
            <a:off x="3341688" y="3209925"/>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9" name="Freeform 223"/>
          <p:cNvSpPr>
            <a:spLocks/>
          </p:cNvSpPr>
          <p:nvPr>
            <p:custDataLst>
              <p:tags r:id="rId149"/>
            </p:custDataLst>
          </p:nvPr>
        </p:nvSpPr>
        <p:spPr bwMode="auto">
          <a:xfrm>
            <a:off x="3392489" y="3322638"/>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0" name="Freeform 224"/>
          <p:cNvSpPr>
            <a:spLocks/>
          </p:cNvSpPr>
          <p:nvPr>
            <p:custDataLst>
              <p:tags r:id="rId150"/>
            </p:custDataLst>
          </p:nvPr>
        </p:nvSpPr>
        <p:spPr bwMode="auto">
          <a:xfrm>
            <a:off x="3473451" y="3376614"/>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1" name="Freeform 225"/>
          <p:cNvSpPr>
            <a:spLocks/>
          </p:cNvSpPr>
          <p:nvPr>
            <p:custDataLst>
              <p:tags r:id="rId151"/>
            </p:custDataLst>
          </p:nvPr>
        </p:nvSpPr>
        <p:spPr bwMode="auto">
          <a:xfrm>
            <a:off x="4154488" y="4630739"/>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2" name="Freeform 226"/>
          <p:cNvSpPr>
            <a:spLocks/>
          </p:cNvSpPr>
          <p:nvPr>
            <p:custDataLst>
              <p:tags r:id="rId152"/>
            </p:custDataLst>
          </p:nvPr>
        </p:nvSpPr>
        <p:spPr bwMode="auto">
          <a:xfrm>
            <a:off x="5700714" y="1247776"/>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03" name="Freeform 227"/>
          <p:cNvSpPr>
            <a:spLocks/>
          </p:cNvSpPr>
          <p:nvPr>
            <p:custDataLst>
              <p:tags r:id="rId153"/>
            </p:custDataLst>
          </p:nvPr>
        </p:nvSpPr>
        <p:spPr bwMode="auto">
          <a:xfrm>
            <a:off x="5627688" y="1477963"/>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4" name="Freeform 228"/>
          <p:cNvSpPr>
            <a:spLocks/>
          </p:cNvSpPr>
          <p:nvPr>
            <p:custDataLst>
              <p:tags r:id="rId154"/>
            </p:custDataLst>
          </p:nvPr>
        </p:nvSpPr>
        <p:spPr bwMode="auto">
          <a:xfrm>
            <a:off x="5967413" y="2319339"/>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accent1">
              <a:lumMod val="75000"/>
            </a:schemeClr>
          </a:solidFill>
          <a:ln w="9525">
            <a:solidFill>
              <a:srgbClr val="FFFFFF"/>
            </a:solidFill>
            <a:round/>
            <a:headEnd/>
            <a:tailEnd/>
          </a:ln>
        </p:spPr>
        <p:txBody>
          <a:bodyPr lIns="91434" tIns="45717" rIns="91434" bIns="45717"/>
          <a:lstStyle/>
          <a:p>
            <a:endParaRPr lang="en-AU"/>
          </a:p>
        </p:txBody>
      </p:sp>
      <p:sp>
        <p:nvSpPr>
          <p:cNvPr id="27805" name="Freeform 229"/>
          <p:cNvSpPr>
            <a:spLocks/>
          </p:cNvSpPr>
          <p:nvPr>
            <p:custDataLst>
              <p:tags r:id="rId155"/>
            </p:custDataLst>
          </p:nvPr>
        </p:nvSpPr>
        <p:spPr bwMode="auto">
          <a:xfrm>
            <a:off x="5675314" y="2159000"/>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6" name="Freeform 230"/>
          <p:cNvSpPr>
            <a:spLocks/>
          </p:cNvSpPr>
          <p:nvPr>
            <p:custDataLst>
              <p:tags r:id="rId156"/>
            </p:custDataLst>
          </p:nvPr>
        </p:nvSpPr>
        <p:spPr bwMode="auto">
          <a:xfrm>
            <a:off x="5613400" y="1978026"/>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7" name="Freeform 231"/>
          <p:cNvSpPr>
            <a:spLocks/>
          </p:cNvSpPr>
          <p:nvPr>
            <p:custDataLst>
              <p:tags r:id="rId157"/>
            </p:custDataLst>
          </p:nvPr>
        </p:nvSpPr>
        <p:spPr bwMode="auto">
          <a:xfrm>
            <a:off x="5594350" y="2041525"/>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8" name="Freeform 232"/>
          <p:cNvSpPr>
            <a:spLocks/>
          </p:cNvSpPr>
          <p:nvPr>
            <p:custDataLst>
              <p:tags r:id="rId158"/>
            </p:custDataLst>
          </p:nvPr>
        </p:nvSpPr>
        <p:spPr bwMode="auto">
          <a:xfrm>
            <a:off x="6354764" y="2595563"/>
            <a:ext cx="33337"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9" name="Freeform 233"/>
          <p:cNvSpPr>
            <a:spLocks/>
          </p:cNvSpPr>
          <p:nvPr>
            <p:custDataLst>
              <p:tags r:id="rId159"/>
            </p:custDataLst>
          </p:nvPr>
        </p:nvSpPr>
        <p:spPr bwMode="auto">
          <a:xfrm>
            <a:off x="6303963" y="2651125"/>
            <a:ext cx="69850" cy="128588"/>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0" name="Freeform 234"/>
          <p:cNvSpPr>
            <a:spLocks/>
          </p:cNvSpPr>
          <p:nvPr>
            <p:custDataLst>
              <p:tags r:id="rId160"/>
            </p:custDataLst>
          </p:nvPr>
        </p:nvSpPr>
        <p:spPr bwMode="auto">
          <a:xfrm>
            <a:off x="5305425" y="1901826"/>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1" name="Freeform 235"/>
          <p:cNvSpPr>
            <a:spLocks/>
          </p:cNvSpPr>
          <p:nvPr>
            <p:custDataLst>
              <p:tags r:id="rId161"/>
            </p:custDataLst>
          </p:nvPr>
        </p:nvSpPr>
        <p:spPr bwMode="auto">
          <a:xfrm>
            <a:off x="5118100" y="2813051"/>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2" name="Freeform 236"/>
          <p:cNvSpPr>
            <a:spLocks/>
          </p:cNvSpPr>
          <p:nvPr>
            <p:custDataLst>
              <p:tags r:id="rId162"/>
            </p:custDataLst>
          </p:nvPr>
        </p:nvSpPr>
        <p:spPr bwMode="auto">
          <a:xfrm>
            <a:off x="5233989" y="2873376"/>
            <a:ext cx="414337"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3" name="Freeform 237"/>
          <p:cNvSpPr>
            <a:spLocks/>
          </p:cNvSpPr>
          <p:nvPr>
            <p:custDataLst>
              <p:tags r:id="rId163"/>
            </p:custDataLst>
          </p:nvPr>
        </p:nvSpPr>
        <p:spPr bwMode="auto">
          <a:xfrm>
            <a:off x="5332413" y="2479675"/>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4" name="Freeform 238"/>
          <p:cNvSpPr>
            <a:spLocks/>
          </p:cNvSpPr>
          <p:nvPr>
            <p:custDataLst>
              <p:tags r:id="rId164"/>
            </p:custDataLst>
          </p:nvPr>
        </p:nvSpPr>
        <p:spPr bwMode="auto">
          <a:xfrm>
            <a:off x="5768976" y="2614613"/>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15" name="Freeform 239"/>
          <p:cNvSpPr>
            <a:spLocks/>
          </p:cNvSpPr>
          <p:nvPr>
            <p:custDataLst>
              <p:tags r:id="rId165"/>
            </p:custDataLst>
          </p:nvPr>
        </p:nvSpPr>
        <p:spPr bwMode="auto">
          <a:xfrm>
            <a:off x="5721351" y="2479675"/>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6" name="Freeform 240"/>
          <p:cNvSpPr>
            <a:spLocks/>
          </p:cNvSpPr>
          <p:nvPr>
            <p:custDataLst>
              <p:tags r:id="rId166"/>
            </p:custDataLst>
          </p:nvPr>
        </p:nvSpPr>
        <p:spPr bwMode="auto">
          <a:xfrm>
            <a:off x="5103814" y="2790825"/>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7" name="Freeform 241"/>
          <p:cNvSpPr>
            <a:spLocks/>
          </p:cNvSpPr>
          <p:nvPr>
            <p:custDataLst>
              <p:tags r:id="rId167"/>
            </p:custDataLst>
          </p:nvPr>
        </p:nvSpPr>
        <p:spPr bwMode="auto">
          <a:xfrm>
            <a:off x="5072063" y="1598613"/>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8" name="Freeform 242"/>
          <p:cNvSpPr>
            <a:spLocks/>
          </p:cNvSpPr>
          <p:nvPr>
            <p:custDataLst>
              <p:tags r:id="rId168"/>
            </p:custDataLst>
          </p:nvPr>
        </p:nvSpPr>
        <p:spPr bwMode="auto">
          <a:xfrm>
            <a:off x="5864225" y="1862138"/>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9" name="Freeform 243"/>
          <p:cNvSpPr>
            <a:spLocks/>
          </p:cNvSpPr>
          <p:nvPr>
            <p:custDataLst>
              <p:tags r:id="rId169"/>
            </p:custDataLst>
          </p:nvPr>
        </p:nvSpPr>
        <p:spPr bwMode="auto">
          <a:xfrm>
            <a:off x="5751513" y="1525589"/>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20" name="Freeform 244"/>
          <p:cNvSpPr>
            <a:spLocks/>
          </p:cNvSpPr>
          <p:nvPr>
            <p:custDataLst>
              <p:tags r:id="rId170"/>
            </p:custDataLst>
          </p:nvPr>
        </p:nvSpPr>
        <p:spPr bwMode="auto">
          <a:xfrm>
            <a:off x="5889625" y="1839913"/>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1" name="Freeform 245"/>
          <p:cNvSpPr>
            <a:spLocks/>
          </p:cNvSpPr>
          <p:nvPr>
            <p:custDataLst>
              <p:tags r:id="rId171"/>
            </p:custDataLst>
          </p:nvPr>
        </p:nvSpPr>
        <p:spPr bwMode="auto">
          <a:xfrm>
            <a:off x="5334001" y="2001838"/>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294" name="Freeform 246"/>
          <p:cNvSpPr>
            <a:spLocks/>
          </p:cNvSpPr>
          <p:nvPr>
            <p:custDataLst>
              <p:tags r:id="rId172"/>
            </p:custDataLst>
          </p:nvPr>
        </p:nvSpPr>
        <p:spPr bwMode="auto">
          <a:xfrm>
            <a:off x="6286500" y="2530475"/>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accent1">
              <a:lumMod val="90000"/>
            </a:schemeClr>
          </a:solidFill>
          <a:ln w="9525" cmpd="sng">
            <a:solidFill>
              <a:srgbClr val="FFFFFF"/>
            </a:solidFill>
            <a:prstDash val="solid"/>
            <a:round/>
            <a:headEnd/>
            <a:tailEnd/>
          </a:ln>
        </p:spPr>
        <p:txBody>
          <a:bodyPr lIns="91434" tIns="45717" rIns="91434" bIns="45717"/>
          <a:lstStyle/>
          <a:p>
            <a:pPr>
              <a:defRPr/>
            </a:pPr>
            <a:endParaRPr lang="en-GB">
              <a:latin typeface="Arial" pitchFamily="34" charset="0"/>
              <a:cs typeface="Arial" pitchFamily="34" charset="0"/>
            </a:endParaRPr>
          </a:p>
        </p:txBody>
      </p:sp>
      <p:sp>
        <p:nvSpPr>
          <p:cNvPr id="27823" name="Freeform 247"/>
          <p:cNvSpPr>
            <a:spLocks/>
          </p:cNvSpPr>
          <p:nvPr>
            <p:custDataLst>
              <p:tags r:id="rId173"/>
            </p:custDataLst>
          </p:nvPr>
        </p:nvSpPr>
        <p:spPr bwMode="auto">
          <a:xfrm>
            <a:off x="5894389" y="3322639"/>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4" name="Freeform 248"/>
          <p:cNvSpPr>
            <a:spLocks/>
          </p:cNvSpPr>
          <p:nvPr>
            <p:custDataLst>
              <p:tags r:id="rId174"/>
            </p:custDataLst>
          </p:nvPr>
        </p:nvSpPr>
        <p:spPr bwMode="auto">
          <a:xfrm>
            <a:off x="5830888" y="3490913"/>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336699"/>
          </a:solidFill>
          <a:ln w="9525">
            <a:solidFill>
              <a:schemeClr val="accent1"/>
            </a:solidFill>
            <a:round/>
            <a:headEnd/>
            <a:tailEnd/>
          </a:ln>
        </p:spPr>
        <p:txBody>
          <a:bodyPr lIns="91434" tIns="45717" rIns="91434" bIns="45717"/>
          <a:lstStyle/>
          <a:p>
            <a:endParaRPr lang="en-AU"/>
          </a:p>
        </p:txBody>
      </p:sp>
      <p:sp>
        <p:nvSpPr>
          <p:cNvPr id="27825" name="Freeform 249"/>
          <p:cNvSpPr>
            <a:spLocks/>
          </p:cNvSpPr>
          <p:nvPr>
            <p:custDataLst>
              <p:tags r:id="rId175"/>
            </p:custDataLst>
          </p:nvPr>
        </p:nvSpPr>
        <p:spPr bwMode="auto">
          <a:xfrm>
            <a:off x="5767388" y="3590926"/>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6" name="Freeform 250"/>
          <p:cNvSpPr>
            <a:spLocks/>
          </p:cNvSpPr>
          <p:nvPr>
            <p:custDataLst>
              <p:tags r:id="rId176"/>
            </p:custDataLst>
          </p:nvPr>
        </p:nvSpPr>
        <p:spPr bwMode="auto">
          <a:xfrm>
            <a:off x="5749925" y="3590926"/>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27" name="Freeform 251"/>
          <p:cNvSpPr>
            <a:spLocks/>
          </p:cNvSpPr>
          <p:nvPr>
            <p:custDataLst>
              <p:tags r:id="rId177"/>
            </p:custDataLst>
          </p:nvPr>
        </p:nvSpPr>
        <p:spPr bwMode="auto">
          <a:xfrm>
            <a:off x="6283325" y="3995738"/>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828" name="Freeform 252"/>
          <p:cNvSpPr>
            <a:spLocks/>
          </p:cNvSpPr>
          <p:nvPr>
            <p:custDataLst>
              <p:tags r:id="rId178"/>
            </p:custDataLst>
          </p:nvPr>
        </p:nvSpPr>
        <p:spPr bwMode="auto">
          <a:xfrm>
            <a:off x="6018214" y="4235450"/>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29" name="Freeform 253"/>
          <p:cNvSpPr>
            <a:spLocks/>
          </p:cNvSpPr>
          <p:nvPr>
            <p:custDataLst>
              <p:tags r:id="rId179"/>
            </p:custDataLst>
          </p:nvPr>
        </p:nvSpPr>
        <p:spPr bwMode="auto">
          <a:xfrm>
            <a:off x="6591300" y="4037014"/>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0" name="Freeform 254"/>
          <p:cNvSpPr>
            <a:spLocks/>
          </p:cNvSpPr>
          <p:nvPr>
            <p:custDataLst>
              <p:tags r:id="rId180"/>
            </p:custDataLst>
          </p:nvPr>
        </p:nvSpPr>
        <p:spPr bwMode="auto">
          <a:xfrm>
            <a:off x="6267451" y="3735389"/>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1" name="Freeform 255"/>
          <p:cNvSpPr>
            <a:spLocks/>
          </p:cNvSpPr>
          <p:nvPr>
            <p:custDataLst>
              <p:tags r:id="rId181"/>
            </p:custDataLst>
          </p:nvPr>
        </p:nvSpPr>
        <p:spPr bwMode="auto">
          <a:xfrm>
            <a:off x="6256338" y="3695701"/>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2" name="Freeform 256"/>
          <p:cNvSpPr>
            <a:spLocks/>
          </p:cNvSpPr>
          <p:nvPr>
            <p:custDataLst>
              <p:tags r:id="rId182"/>
            </p:custDataLst>
          </p:nvPr>
        </p:nvSpPr>
        <p:spPr bwMode="auto">
          <a:xfrm>
            <a:off x="6565900" y="2395539"/>
            <a:ext cx="503238"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336699"/>
          </a:solidFill>
          <a:ln w="9525">
            <a:solidFill>
              <a:srgbClr val="336699"/>
            </a:solidFill>
            <a:round/>
            <a:headEnd/>
            <a:tailEnd/>
          </a:ln>
        </p:spPr>
        <p:txBody>
          <a:bodyPr lIns="91434" tIns="45717" rIns="91434" bIns="45717"/>
          <a:lstStyle/>
          <a:p>
            <a:endParaRPr lang="en-AU"/>
          </a:p>
        </p:txBody>
      </p:sp>
      <p:sp>
        <p:nvSpPr>
          <p:cNvPr id="27833" name="Freeform 257"/>
          <p:cNvSpPr>
            <a:spLocks/>
          </p:cNvSpPr>
          <p:nvPr>
            <p:custDataLst>
              <p:tags r:id="rId183"/>
            </p:custDataLst>
          </p:nvPr>
        </p:nvSpPr>
        <p:spPr bwMode="auto">
          <a:xfrm>
            <a:off x="6589713" y="3052763"/>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4" name="Freeform 258"/>
          <p:cNvSpPr>
            <a:spLocks/>
          </p:cNvSpPr>
          <p:nvPr>
            <p:custDataLst>
              <p:tags r:id="rId184"/>
            </p:custDataLst>
          </p:nvPr>
        </p:nvSpPr>
        <p:spPr bwMode="auto">
          <a:xfrm>
            <a:off x="6784975" y="2827338"/>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5" name="Freeform 259"/>
          <p:cNvSpPr>
            <a:spLocks/>
          </p:cNvSpPr>
          <p:nvPr>
            <p:custDataLst>
              <p:tags r:id="rId185"/>
            </p:custDataLst>
          </p:nvPr>
        </p:nvSpPr>
        <p:spPr bwMode="auto">
          <a:xfrm>
            <a:off x="6472238" y="2479676"/>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36" name="Freeform 260"/>
          <p:cNvSpPr>
            <a:spLocks/>
          </p:cNvSpPr>
          <p:nvPr>
            <p:custDataLst>
              <p:tags r:id="rId186"/>
            </p:custDataLst>
          </p:nvPr>
        </p:nvSpPr>
        <p:spPr bwMode="auto">
          <a:xfrm>
            <a:off x="6972300" y="2439988"/>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37" name="Freeform 261"/>
          <p:cNvSpPr>
            <a:spLocks/>
          </p:cNvSpPr>
          <p:nvPr>
            <p:custDataLst>
              <p:tags r:id="rId187"/>
            </p:custDataLst>
          </p:nvPr>
        </p:nvSpPr>
        <p:spPr bwMode="auto">
          <a:xfrm>
            <a:off x="7004051" y="2489201"/>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8" name="Freeform 262"/>
          <p:cNvSpPr>
            <a:spLocks/>
          </p:cNvSpPr>
          <p:nvPr>
            <p:custDataLst>
              <p:tags r:id="rId188"/>
            </p:custDataLst>
          </p:nvPr>
        </p:nvSpPr>
        <p:spPr bwMode="auto">
          <a:xfrm>
            <a:off x="7794626" y="2757489"/>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9" name="Freeform 263"/>
          <p:cNvSpPr>
            <a:spLocks/>
          </p:cNvSpPr>
          <p:nvPr>
            <p:custDataLst>
              <p:tags r:id="rId189"/>
            </p:custDataLst>
          </p:nvPr>
        </p:nvSpPr>
        <p:spPr bwMode="auto">
          <a:xfrm>
            <a:off x="5118101" y="3267075"/>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40" name="Freeform 264"/>
          <p:cNvSpPr>
            <a:spLocks/>
          </p:cNvSpPr>
          <p:nvPr>
            <p:custDataLst>
              <p:tags r:id="rId190"/>
            </p:custDataLst>
          </p:nvPr>
        </p:nvSpPr>
        <p:spPr bwMode="auto">
          <a:xfrm>
            <a:off x="5202238" y="3349626"/>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1" name="Freeform 265"/>
          <p:cNvSpPr>
            <a:spLocks/>
          </p:cNvSpPr>
          <p:nvPr>
            <p:custDataLst>
              <p:tags r:id="rId191"/>
            </p:custDataLst>
          </p:nvPr>
        </p:nvSpPr>
        <p:spPr bwMode="auto">
          <a:xfrm>
            <a:off x="5245101" y="3400426"/>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2" name="Freeform 266"/>
          <p:cNvSpPr>
            <a:spLocks/>
          </p:cNvSpPr>
          <p:nvPr>
            <p:custDataLst>
              <p:tags r:id="rId192"/>
            </p:custDataLst>
          </p:nvPr>
        </p:nvSpPr>
        <p:spPr bwMode="auto">
          <a:xfrm>
            <a:off x="5459414" y="3319463"/>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43" name="Freeform 267"/>
          <p:cNvSpPr>
            <a:spLocks/>
          </p:cNvSpPr>
          <p:nvPr>
            <p:custDataLst>
              <p:tags r:id="rId193"/>
            </p:custDataLst>
          </p:nvPr>
        </p:nvSpPr>
        <p:spPr bwMode="auto">
          <a:xfrm>
            <a:off x="5111751" y="3235325"/>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4" name="Freeform 268"/>
          <p:cNvSpPr>
            <a:spLocks/>
          </p:cNvSpPr>
          <p:nvPr>
            <p:custDataLst>
              <p:tags r:id="rId194"/>
            </p:custDataLst>
          </p:nvPr>
        </p:nvSpPr>
        <p:spPr bwMode="auto">
          <a:xfrm>
            <a:off x="5537201" y="3313114"/>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45" name="Freeform 269"/>
          <p:cNvSpPr>
            <a:spLocks/>
          </p:cNvSpPr>
          <p:nvPr>
            <p:custDataLst>
              <p:tags r:id="rId195"/>
            </p:custDataLst>
          </p:nvPr>
        </p:nvSpPr>
        <p:spPr bwMode="auto">
          <a:xfrm>
            <a:off x="5562600" y="3275013"/>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46" name="Freeform 270"/>
          <p:cNvSpPr>
            <a:spLocks/>
          </p:cNvSpPr>
          <p:nvPr>
            <p:custDataLst>
              <p:tags r:id="rId196"/>
            </p:custDataLst>
          </p:nvPr>
        </p:nvSpPr>
        <p:spPr bwMode="auto">
          <a:xfrm>
            <a:off x="6291263" y="4479926"/>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47" name="Freeform 271"/>
          <p:cNvSpPr>
            <a:spLocks/>
          </p:cNvSpPr>
          <p:nvPr>
            <p:custDataLst>
              <p:tags r:id="rId197"/>
            </p:custDataLst>
          </p:nvPr>
        </p:nvSpPr>
        <p:spPr bwMode="auto">
          <a:xfrm>
            <a:off x="6186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8" name="Freeform 272"/>
          <p:cNvSpPr>
            <a:spLocks/>
          </p:cNvSpPr>
          <p:nvPr>
            <p:custDataLst>
              <p:tags r:id="rId198"/>
            </p:custDataLst>
          </p:nvPr>
        </p:nvSpPr>
        <p:spPr bwMode="auto">
          <a:xfrm>
            <a:off x="8404225" y="2290763"/>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9" name="Freeform 273"/>
          <p:cNvSpPr>
            <a:spLocks/>
          </p:cNvSpPr>
          <p:nvPr>
            <p:custDataLst>
              <p:tags r:id="rId199"/>
            </p:custDataLst>
          </p:nvPr>
        </p:nvSpPr>
        <p:spPr bwMode="auto">
          <a:xfrm>
            <a:off x="7475539" y="2705101"/>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50" name="Freeform 274"/>
          <p:cNvSpPr>
            <a:spLocks/>
          </p:cNvSpPr>
          <p:nvPr>
            <p:custDataLst>
              <p:tags r:id="rId200"/>
            </p:custDataLst>
          </p:nvPr>
        </p:nvSpPr>
        <p:spPr bwMode="auto">
          <a:xfrm>
            <a:off x="7691439" y="2760664"/>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1" name="Freeform 275"/>
          <p:cNvSpPr>
            <a:spLocks/>
          </p:cNvSpPr>
          <p:nvPr>
            <p:custDataLst>
              <p:tags r:id="rId201"/>
            </p:custDataLst>
          </p:nvPr>
        </p:nvSpPr>
        <p:spPr bwMode="auto">
          <a:xfrm>
            <a:off x="7681913" y="2832100"/>
            <a:ext cx="13335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52" name="Freeform 276"/>
          <p:cNvSpPr>
            <a:spLocks/>
          </p:cNvSpPr>
          <p:nvPr>
            <p:custDataLst>
              <p:tags r:id="rId202"/>
            </p:custDataLst>
          </p:nvPr>
        </p:nvSpPr>
        <p:spPr bwMode="auto">
          <a:xfrm>
            <a:off x="7999413" y="2947989"/>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3" name="Freeform 277"/>
          <p:cNvSpPr>
            <a:spLocks/>
          </p:cNvSpPr>
          <p:nvPr>
            <p:custDataLst>
              <p:tags r:id="rId203"/>
            </p:custDataLst>
          </p:nvPr>
        </p:nvSpPr>
        <p:spPr bwMode="auto">
          <a:xfrm>
            <a:off x="8081963" y="3198814"/>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4" name="Freeform 278"/>
          <p:cNvSpPr>
            <a:spLocks/>
          </p:cNvSpPr>
          <p:nvPr>
            <p:custDataLst>
              <p:tags r:id="rId204"/>
            </p:custDataLst>
          </p:nvPr>
        </p:nvSpPr>
        <p:spPr bwMode="auto">
          <a:xfrm>
            <a:off x="8483601" y="2435226"/>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55" name="Freeform 279"/>
          <p:cNvSpPr>
            <a:spLocks/>
          </p:cNvSpPr>
          <p:nvPr>
            <p:custDataLst>
              <p:tags r:id="rId205"/>
            </p:custDataLst>
          </p:nvPr>
        </p:nvSpPr>
        <p:spPr bwMode="auto">
          <a:xfrm>
            <a:off x="9051926" y="3732213"/>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856" name="Freeform 280"/>
          <p:cNvSpPr>
            <a:spLocks/>
          </p:cNvSpPr>
          <p:nvPr>
            <p:custDataLst>
              <p:tags r:id="rId206"/>
            </p:custDataLst>
          </p:nvPr>
        </p:nvSpPr>
        <p:spPr bwMode="auto">
          <a:xfrm>
            <a:off x="9244013" y="3716339"/>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7" name="Freeform 281"/>
          <p:cNvSpPr>
            <a:spLocks/>
          </p:cNvSpPr>
          <p:nvPr>
            <p:custDataLst>
              <p:tags r:id="rId207"/>
            </p:custDataLst>
          </p:nvPr>
        </p:nvSpPr>
        <p:spPr bwMode="auto">
          <a:xfrm>
            <a:off x="7519988" y="3349626"/>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1" name="Group 282"/>
          <p:cNvGrpSpPr>
            <a:grpSpLocks/>
          </p:cNvGrpSpPr>
          <p:nvPr>
            <p:custDataLst>
              <p:tags r:id="rId208"/>
            </p:custDataLst>
          </p:nvPr>
        </p:nvGrpSpPr>
        <p:grpSpPr bwMode="auto">
          <a:xfrm>
            <a:off x="8459788" y="3060700"/>
            <a:ext cx="233362" cy="439738"/>
            <a:chOff x="5062" y="2295"/>
            <a:chExt cx="177" cy="279"/>
          </a:xfrm>
          <a:solidFill>
            <a:srgbClr val="336699"/>
          </a:solidFill>
        </p:grpSpPr>
        <p:sp>
          <p:nvSpPr>
            <p:cNvPr id="2331"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2"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3"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4"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5"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6"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7"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8"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9"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0"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1"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2"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3"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4"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5"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6"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a:defRPr/>
              </a:pPr>
              <a:endParaRPr lang="en-GB">
                <a:latin typeface="Arial" pitchFamily="34" charset="0"/>
                <a:cs typeface="Arial" pitchFamily="34" charset="0"/>
              </a:endParaRPr>
            </a:p>
          </p:txBody>
        </p:sp>
        <p:sp>
          <p:nvSpPr>
            <p:cNvPr id="2347"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8"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a:defRPr/>
              </a:pPr>
              <a:endParaRPr lang="en-GB">
                <a:latin typeface="Arial" pitchFamily="34" charset="0"/>
                <a:cs typeface="Arial" pitchFamily="34" charset="0"/>
              </a:endParaRPr>
            </a:p>
          </p:txBody>
        </p:sp>
        <p:sp>
          <p:nvSpPr>
            <p:cNvPr id="2349"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0"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1"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2"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3"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4"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a:defRPr/>
              </a:pPr>
              <a:endParaRPr lang="en-GB">
                <a:latin typeface="Arial" pitchFamily="34" charset="0"/>
                <a:cs typeface="Arial" pitchFamily="34" charset="0"/>
              </a:endParaRPr>
            </a:p>
          </p:txBody>
        </p:sp>
      </p:grpSp>
      <p:sp>
        <p:nvSpPr>
          <p:cNvPr id="27859" name="Freeform 307"/>
          <p:cNvSpPr>
            <a:spLocks/>
          </p:cNvSpPr>
          <p:nvPr>
            <p:custDataLst>
              <p:tags r:id="rId209"/>
            </p:custDataLst>
          </p:nvPr>
        </p:nvSpPr>
        <p:spPr bwMode="auto">
          <a:xfrm>
            <a:off x="8804275" y="3879851"/>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0" name="Freeform 308"/>
          <p:cNvSpPr>
            <a:spLocks/>
          </p:cNvSpPr>
          <p:nvPr>
            <p:custDataLst>
              <p:tags r:id="rId210"/>
            </p:custDataLst>
          </p:nvPr>
        </p:nvSpPr>
        <p:spPr bwMode="auto">
          <a:xfrm>
            <a:off x="8880476" y="3819525"/>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1" name="Freeform 309"/>
          <p:cNvSpPr>
            <a:spLocks/>
          </p:cNvSpPr>
          <p:nvPr>
            <p:custDataLst>
              <p:tags r:id="rId211"/>
            </p:custDataLst>
          </p:nvPr>
        </p:nvSpPr>
        <p:spPr bwMode="auto">
          <a:xfrm>
            <a:off x="8928101" y="3698875"/>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62" name="Freeform 310"/>
          <p:cNvSpPr>
            <a:spLocks/>
          </p:cNvSpPr>
          <p:nvPr>
            <p:custDataLst>
              <p:tags r:id="rId212"/>
            </p:custDataLst>
          </p:nvPr>
        </p:nvSpPr>
        <p:spPr bwMode="auto">
          <a:xfrm>
            <a:off x="8912225" y="3668713"/>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3" name="Freeform 311"/>
          <p:cNvSpPr>
            <a:spLocks/>
          </p:cNvSpPr>
          <p:nvPr>
            <p:custDataLst>
              <p:tags r:id="rId213"/>
            </p:custDataLst>
          </p:nvPr>
        </p:nvSpPr>
        <p:spPr bwMode="auto">
          <a:xfrm>
            <a:off x="8737600" y="3565525"/>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4" name="Freeform 312"/>
          <p:cNvSpPr>
            <a:spLocks/>
          </p:cNvSpPr>
          <p:nvPr>
            <p:custDataLst>
              <p:tags r:id="rId214"/>
            </p:custDataLst>
          </p:nvPr>
        </p:nvSpPr>
        <p:spPr bwMode="auto">
          <a:xfrm>
            <a:off x="8664576" y="3700464"/>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5" name="Freeform 313"/>
          <p:cNvSpPr>
            <a:spLocks/>
          </p:cNvSpPr>
          <p:nvPr>
            <p:custDataLst>
              <p:tags r:id="rId215"/>
            </p:custDataLst>
          </p:nvPr>
        </p:nvSpPr>
        <p:spPr bwMode="auto">
          <a:xfrm>
            <a:off x="8672513" y="3886201"/>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6" name="Freeform 314"/>
          <p:cNvSpPr>
            <a:spLocks/>
          </p:cNvSpPr>
          <p:nvPr>
            <p:custDataLst>
              <p:tags r:id="rId216"/>
            </p:custDataLst>
          </p:nvPr>
        </p:nvSpPr>
        <p:spPr bwMode="auto">
          <a:xfrm>
            <a:off x="8785226" y="3705225"/>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7" name="Freeform 315"/>
          <p:cNvSpPr>
            <a:spLocks/>
          </p:cNvSpPr>
          <p:nvPr>
            <p:custDataLst>
              <p:tags r:id="rId217"/>
            </p:custDataLst>
          </p:nvPr>
        </p:nvSpPr>
        <p:spPr bwMode="auto">
          <a:xfrm>
            <a:off x="8645525" y="3700464"/>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8" name="Freeform 316"/>
          <p:cNvSpPr>
            <a:spLocks/>
          </p:cNvSpPr>
          <p:nvPr>
            <p:custDataLst>
              <p:tags r:id="rId218"/>
            </p:custDataLst>
          </p:nvPr>
        </p:nvSpPr>
        <p:spPr bwMode="auto">
          <a:xfrm>
            <a:off x="8689976" y="3748088"/>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9" name="Freeform 317"/>
          <p:cNvSpPr>
            <a:spLocks/>
          </p:cNvSpPr>
          <p:nvPr>
            <p:custDataLst>
              <p:tags r:id="rId219"/>
            </p:custDataLst>
          </p:nvPr>
        </p:nvSpPr>
        <p:spPr bwMode="auto">
          <a:xfrm>
            <a:off x="8491539" y="3951289"/>
            <a:ext cx="46037"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0" name="Freeform 318"/>
          <p:cNvSpPr>
            <a:spLocks/>
          </p:cNvSpPr>
          <p:nvPr>
            <p:custDataLst>
              <p:tags r:id="rId220"/>
            </p:custDataLst>
          </p:nvPr>
        </p:nvSpPr>
        <p:spPr bwMode="auto">
          <a:xfrm>
            <a:off x="8589964" y="3989389"/>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1" name="Freeform 319"/>
          <p:cNvSpPr>
            <a:spLocks/>
          </p:cNvSpPr>
          <p:nvPr>
            <p:custDataLst>
              <p:tags r:id="rId221"/>
            </p:custDataLst>
          </p:nvPr>
        </p:nvSpPr>
        <p:spPr bwMode="auto">
          <a:xfrm>
            <a:off x="8423276" y="3921126"/>
            <a:ext cx="36513"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2" name="Freeform 320"/>
          <p:cNvSpPr>
            <a:spLocks/>
          </p:cNvSpPr>
          <p:nvPr>
            <p:custDataLst>
              <p:tags r:id="rId222"/>
            </p:custDataLst>
          </p:nvPr>
        </p:nvSpPr>
        <p:spPr bwMode="auto">
          <a:xfrm>
            <a:off x="8467725" y="3906838"/>
            <a:ext cx="39688"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3" name="Freeform 321"/>
          <p:cNvSpPr>
            <a:spLocks/>
          </p:cNvSpPr>
          <p:nvPr>
            <p:custDataLst>
              <p:tags r:id="rId223"/>
            </p:custDataLst>
          </p:nvPr>
        </p:nvSpPr>
        <p:spPr bwMode="auto">
          <a:xfrm>
            <a:off x="8520113" y="3916364"/>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4" name="Freeform 322"/>
          <p:cNvSpPr>
            <a:spLocks/>
          </p:cNvSpPr>
          <p:nvPr>
            <p:custDataLst>
              <p:tags r:id="rId224"/>
            </p:custDataLst>
          </p:nvPr>
        </p:nvSpPr>
        <p:spPr bwMode="auto">
          <a:xfrm>
            <a:off x="8572500" y="3921126"/>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5" name="Freeform 323"/>
          <p:cNvSpPr>
            <a:spLocks/>
          </p:cNvSpPr>
          <p:nvPr>
            <p:custDataLst>
              <p:tags r:id="rId225"/>
            </p:custDataLst>
          </p:nvPr>
        </p:nvSpPr>
        <p:spPr bwMode="auto">
          <a:xfrm>
            <a:off x="8645525" y="3913188"/>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6" name="Freeform 324"/>
          <p:cNvSpPr>
            <a:spLocks/>
          </p:cNvSpPr>
          <p:nvPr>
            <p:custDataLst>
              <p:tags r:id="rId226"/>
            </p:custDataLst>
          </p:nvPr>
        </p:nvSpPr>
        <p:spPr bwMode="auto">
          <a:xfrm>
            <a:off x="8220075" y="3727450"/>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7" name="Freeform 325"/>
          <p:cNvSpPr>
            <a:spLocks/>
          </p:cNvSpPr>
          <p:nvPr>
            <p:custDataLst>
              <p:tags r:id="rId227"/>
            </p:custDataLst>
          </p:nvPr>
        </p:nvSpPr>
        <p:spPr bwMode="auto">
          <a:xfrm>
            <a:off x="8166101" y="3700464"/>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8" name="Freeform 326"/>
          <p:cNvSpPr>
            <a:spLocks/>
          </p:cNvSpPr>
          <p:nvPr>
            <p:custDataLst>
              <p:tags r:id="rId228"/>
            </p:custDataLst>
          </p:nvPr>
        </p:nvSpPr>
        <p:spPr bwMode="auto">
          <a:xfrm>
            <a:off x="8001000" y="3684588"/>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9" name="Line 327" descr="Horizontal dunkel"/>
          <p:cNvSpPr>
            <a:spLocks noChangeShapeType="1"/>
          </p:cNvSpPr>
          <p:nvPr>
            <p:custDataLst>
              <p:tags r:id="rId229"/>
            </p:custDataLst>
          </p:nvPr>
        </p:nvSpPr>
        <p:spPr bwMode="auto">
          <a:xfrm>
            <a:off x="8026401" y="3721100"/>
            <a:ext cx="4763"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880" name="Freeform 328"/>
          <p:cNvSpPr>
            <a:spLocks/>
          </p:cNvSpPr>
          <p:nvPr>
            <p:custDataLst>
              <p:tags r:id="rId230"/>
            </p:custDataLst>
          </p:nvPr>
        </p:nvSpPr>
        <p:spPr bwMode="auto">
          <a:xfrm>
            <a:off x="8023225" y="3721100"/>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1" name="Freeform 329"/>
          <p:cNvSpPr>
            <a:spLocks/>
          </p:cNvSpPr>
          <p:nvPr>
            <p:custDataLst>
              <p:tags r:id="rId231"/>
            </p:custDataLst>
          </p:nvPr>
        </p:nvSpPr>
        <p:spPr bwMode="auto">
          <a:xfrm>
            <a:off x="7924801" y="3565525"/>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2" name="Freeform 330"/>
          <p:cNvSpPr>
            <a:spLocks/>
          </p:cNvSpPr>
          <p:nvPr>
            <p:custDataLst>
              <p:tags r:id="rId232"/>
            </p:custDataLst>
          </p:nvPr>
        </p:nvSpPr>
        <p:spPr bwMode="auto">
          <a:xfrm>
            <a:off x="8453438" y="3929063"/>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3" name="Freeform 331"/>
          <p:cNvSpPr>
            <a:spLocks/>
          </p:cNvSpPr>
          <p:nvPr>
            <p:custDataLst>
              <p:tags r:id="rId233"/>
            </p:custDataLst>
          </p:nvPr>
        </p:nvSpPr>
        <p:spPr bwMode="auto">
          <a:xfrm>
            <a:off x="8969376" y="3886201"/>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4" name="Freeform 332"/>
          <p:cNvSpPr>
            <a:spLocks/>
          </p:cNvSpPr>
          <p:nvPr>
            <p:custDataLst>
              <p:tags r:id="rId234"/>
            </p:custDataLst>
          </p:nvPr>
        </p:nvSpPr>
        <p:spPr bwMode="auto">
          <a:xfrm>
            <a:off x="7907339" y="3468688"/>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5" name="Freeform 333"/>
          <p:cNvSpPr>
            <a:spLocks/>
          </p:cNvSpPr>
          <p:nvPr>
            <p:custDataLst>
              <p:tags r:id="rId235"/>
            </p:custDataLst>
          </p:nvPr>
        </p:nvSpPr>
        <p:spPr bwMode="auto">
          <a:xfrm>
            <a:off x="8248650" y="3517901"/>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6" name="Freeform 334"/>
          <p:cNvSpPr>
            <a:spLocks/>
          </p:cNvSpPr>
          <p:nvPr>
            <p:custDataLst>
              <p:tags r:id="rId236"/>
            </p:custDataLst>
          </p:nvPr>
        </p:nvSpPr>
        <p:spPr bwMode="auto">
          <a:xfrm>
            <a:off x="8604251" y="3924300"/>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noFill/>
          <a:ln w="9525">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91434" tIns="45717" rIns="91434" bIns="45717"/>
          <a:lstStyle/>
          <a:p>
            <a:endParaRPr lang="en-AU"/>
          </a:p>
        </p:txBody>
      </p:sp>
      <p:sp>
        <p:nvSpPr>
          <p:cNvPr id="27887" name="Freeform 335"/>
          <p:cNvSpPr>
            <a:spLocks/>
          </p:cNvSpPr>
          <p:nvPr>
            <p:custDataLst>
              <p:tags r:id="rId237"/>
            </p:custDataLst>
          </p:nvPr>
        </p:nvSpPr>
        <p:spPr bwMode="auto">
          <a:xfrm>
            <a:off x="8720138" y="3590925"/>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8" name="Freeform 336"/>
          <p:cNvSpPr>
            <a:spLocks/>
          </p:cNvSpPr>
          <p:nvPr>
            <p:custDataLst>
              <p:tags r:id="rId238"/>
            </p:custDataLst>
          </p:nvPr>
        </p:nvSpPr>
        <p:spPr bwMode="auto">
          <a:xfrm>
            <a:off x="8732839" y="3735388"/>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9" name="Freeform 337"/>
          <p:cNvSpPr>
            <a:spLocks/>
          </p:cNvSpPr>
          <p:nvPr>
            <p:custDataLst>
              <p:tags r:id="rId239"/>
            </p:custDataLst>
          </p:nvPr>
        </p:nvSpPr>
        <p:spPr bwMode="auto">
          <a:xfrm>
            <a:off x="8809039" y="3659188"/>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0" name="Freeform 338"/>
          <p:cNvSpPr>
            <a:spLocks/>
          </p:cNvSpPr>
          <p:nvPr>
            <p:custDataLst>
              <p:tags r:id="rId240"/>
            </p:custDataLst>
          </p:nvPr>
        </p:nvSpPr>
        <p:spPr bwMode="auto">
          <a:xfrm>
            <a:off x="8497889" y="3597275"/>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1" name="Freeform 339"/>
          <p:cNvSpPr>
            <a:spLocks/>
          </p:cNvSpPr>
          <p:nvPr>
            <p:custDataLst>
              <p:tags r:id="rId241"/>
            </p:custDataLst>
          </p:nvPr>
        </p:nvSpPr>
        <p:spPr bwMode="auto">
          <a:xfrm>
            <a:off x="8162926" y="3838575"/>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2" name="Freeform 340"/>
          <p:cNvSpPr>
            <a:spLocks/>
          </p:cNvSpPr>
          <p:nvPr>
            <p:custDataLst>
              <p:tags r:id="rId242"/>
            </p:custDataLst>
          </p:nvPr>
        </p:nvSpPr>
        <p:spPr bwMode="auto">
          <a:xfrm>
            <a:off x="8843963" y="3695701"/>
            <a:ext cx="214312"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3" name="Freeform 341"/>
          <p:cNvSpPr>
            <a:spLocks/>
          </p:cNvSpPr>
          <p:nvPr>
            <p:custDataLst>
              <p:tags r:id="rId243"/>
            </p:custDataLst>
          </p:nvPr>
        </p:nvSpPr>
        <p:spPr bwMode="auto">
          <a:xfrm>
            <a:off x="7375526" y="2527301"/>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94" name="Freeform 342"/>
          <p:cNvSpPr>
            <a:spLocks/>
          </p:cNvSpPr>
          <p:nvPr>
            <p:custDataLst>
              <p:tags r:id="rId244"/>
            </p:custDataLst>
          </p:nvPr>
        </p:nvSpPr>
        <p:spPr bwMode="auto">
          <a:xfrm>
            <a:off x="5832476" y="1931988"/>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5" name="Freeform 343"/>
          <p:cNvSpPr>
            <a:spLocks/>
          </p:cNvSpPr>
          <p:nvPr>
            <p:custDataLst>
              <p:tags r:id="rId245"/>
            </p:custDataLst>
          </p:nvPr>
        </p:nvSpPr>
        <p:spPr bwMode="auto">
          <a:xfrm>
            <a:off x="5895975" y="2136775"/>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6" name="Freeform 344"/>
          <p:cNvSpPr>
            <a:spLocks/>
          </p:cNvSpPr>
          <p:nvPr>
            <p:custDataLst>
              <p:tags r:id="rId246"/>
            </p:custDataLst>
          </p:nvPr>
        </p:nvSpPr>
        <p:spPr bwMode="auto">
          <a:xfrm>
            <a:off x="5995989" y="1792289"/>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7" name="Freeform 345"/>
          <p:cNvSpPr>
            <a:spLocks/>
          </p:cNvSpPr>
          <p:nvPr>
            <p:custDataLst>
              <p:tags r:id="rId247"/>
            </p:custDataLst>
          </p:nvPr>
        </p:nvSpPr>
        <p:spPr bwMode="auto">
          <a:xfrm>
            <a:off x="6008689" y="2139951"/>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9" name="Freeform 347"/>
          <p:cNvSpPr>
            <a:spLocks/>
          </p:cNvSpPr>
          <p:nvPr>
            <p:custDataLst>
              <p:tags r:id="rId248"/>
            </p:custDataLst>
          </p:nvPr>
        </p:nvSpPr>
        <p:spPr bwMode="auto">
          <a:xfrm>
            <a:off x="6113464" y="2132014"/>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accent1">
              <a:lumMod val="75000"/>
            </a:schemeClr>
          </a:solidFill>
          <a:ln w="9525">
            <a:solidFill>
              <a:srgbClr val="FFFFFF"/>
            </a:solidFill>
            <a:round/>
            <a:headEnd/>
            <a:tailEnd/>
          </a:ln>
        </p:spPr>
        <p:txBody>
          <a:bodyPr lIns="91434" tIns="45717" rIns="91434" bIns="45717"/>
          <a:lstStyle/>
          <a:p>
            <a:endParaRPr lang="en-AU"/>
          </a:p>
        </p:txBody>
      </p:sp>
      <p:sp>
        <p:nvSpPr>
          <p:cNvPr id="27900" name="Freeform 348"/>
          <p:cNvSpPr>
            <a:spLocks/>
          </p:cNvSpPr>
          <p:nvPr>
            <p:custDataLst>
              <p:tags r:id="rId249"/>
            </p:custDataLst>
          </p:nvPr>
        </p:nvSpPr>
        <p:spPr bwMode="auto">
          <a:xfrm>
            <a:off x="6030913" y="2014538"/>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1" name="Freeform 349"/>
          <p:cNvSpPr>
            <a:spLocks/>
          </p:cNvSpPr>
          <p:nvPr>
            <p:custDataLst>
              <p:tags r:id="rId250"/>
            </p:custDataLst>
          </p:nvPr>
        </p:nvSpPr>
        <p:spPr bwMode="auto">
          <a:xfrm>
            <a:off x="6542089" y="2357438"/>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2" name="Freeform 350"/>
          <p:cNvSpPr>
            <a:spLocks/>
          </p:cNvSpPr>
          <p:nvPr>
            <p:custDataLst>
              <p:tags r:id="rId251"/>
            </p:custDataLst>
          </p:nvPr>
        </p:nvSpPr>
        <p:spPr bwMode="auto">
          <a:xfrm>
            <a:off x="7085013" y="2371725"/>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3" name="Freeform 351"/>
          <p:cNvSpPr>
            <a:spLocks/>
          </p:cNvSpPr>
          <p:nvPr>
            <p:custDataLst>
              <p:tags r:id="rId252"/>
            </p:custDataLst>
          </p:nvPr>
        </p:nvSpPr>
        <p:spPr bwMode="auto">
          <a:xfrm>
            <a:off x="7134226" y="2300288"/>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4" name="Freeform 352"/>
          <p:cNvSpPr>
            <a:spLocks/>
          </p:cNvSpPr>
          <p:nvPr>
            <p:custDataLst>
              <p:tags r:id="rId253"/>
            </p:custDataLst>
          </p:nvPr>
        </p:nvSpPr>
        <p:spPr bwMode="auto">
          <a:xfrm>
            <a:off x="6740525" y="2316163"/>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5" name="Freeform 353"/>
          <p:cNvSpPr>
            <a:spLocks/>
          </p:cNvSpPr>
          <p:nvPr>
            <p:custDataLst>
              <p:tags r:id="rId254"/>
            </p:custDataLst>
          </p:nvPr>
        </p:nvSpPr>
        <p:spPr bwMode="auto">
          <a:xfrm>
            <a:off x="5949950" y="2203451"/>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6" name="Freeform 354"/>
          <p:cNvSpPr>
            <a:spLocks/>
          </p:cNvSpPr>
          <p:nvPr>
            <p:custDataLst>
              <p:tags r:id="rId255"/>
            </p:custDataLst>
          </p:nvPr>
        </p:nvSpPr>
        <p:spPr bwMode="auto">
          <a:xfrm>
            <a:off x="5997576" y="2311401"/>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335A89"/>
          </a:solidFill>
          <a:ln w="9525">
            <a:solidFill>
              <a:srgbClr val="FFFFFF"/>
            </a:solidFill>
            <a:round/>
            <a:headEnd/>
            <a:tailEnd/>
          </a:ln>
        </p:spPr>
        <p:txBody>
          <a:bodyPr lIns="91434" tIns="45717" rIns="91434" bIns="45717"/>
          <a:lstStyle/>
          <a:p>
            <a:endParaRPr lang="en-AU"/>
          </a:p>
        </p:txBody>
      </p:sp>
      <p:sp>
        <p:nvSpPr>
          <p:cNvPr id="27907" name="Freeform 355"/>
          <p:cNvSpPr>
            <a:spLocks/>
          </p:cNvSpPr>
          <p:nvPr>
            <p:custDataLst>
              <p:tags r:id="rId256"/>
            </p:custDataLst>
          </p:nvPr>
        </p:nvSpPr>
        <p:spPr bwMode="auto">
          <a:xfrm>
            <a:off x="6081713" y="2935289"/>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8" name="Freeform 356"/>
          <p:cNvSpPr>
            <a:spLocks/>
          </p:cNvSpPr>
          <p:nvPr>
            <p:custDataLst>
              <p:tags r:id="rId257"/>
            </p:custDataLst>
          </p:nvPr>
        </p:nvSpPr>
        <p:spPr bwMode="auto">
          <a:xfrm>
            <a:off x="6565901" y="3275013"/>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9" name="Freeform 357"/>
          <p:cNvSpPr>
            <a:spLocks/>
          </p:cNvSpPr>
          <p:nvPr>
            <p:custDataLst>
              <p:tags r:id="rId258"/>
            </p:custDataLst>
          </p:nvPr>
        </p:nvSpPr>
        <p:spPr bwMode="auto">
          <a:xfrm>
            <a:off x="6573838" y="3262314"/>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10" name="Freeform 358"/>
          <p:cNvSpPr>
            <a:spLocks/>
          </p:cNvSpPr>
          <p:nvPr>
            <p:custDataLst>
              <p:tags r:id="rId259"/>
            </p:custDataLst>
          </p:nvPr>
        </p:nvSpPr>
        <p:spPr bwMode="auto">
          <a:xfrm>
            <a:off x="6372225" y="3173414"/>
            <a:ext cx="363538"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11" name="Line 359"/>
          <p:cNvSpPr>
            <a:spLocks noChangeShapeType="1"/>
          </p:cNvSpPr>
          <p:nvPr>
            <p:custDataLst>
              <p:tags r:id="rId260"/>
            </p:custDataLst>
          </p:nvPr>
        </p:nvSpPr>
        <p:spPr bwMode="auto">
          <a:xfrm flipH="1">
            <a:off x="3232151"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912" name="Freeform 360"/>
          <p:cNvSpPr>
            <a:spLocks/>
          </p:cNvSpPr>
          <p:nvPr>
            <p:custDataLst>
              <p:tags r:id="rId261"/>
            </p:custDataLst>
          </p:nvPr>
        </p:nvSpPr>
        <p:spPr bwMode="auto">
          <a:xfrm>
            <a:off x="3232150" y="3700464"/>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13" name="Freeform 361"/>
          <p:cNvSpPr>
            <a:spLocks/>
          </p:cNvSpPr>
          <p:nvPr>
            <p:custDataLst>
              <p:tags r:id="rId262"/>
            </p:custDataLst>
          </p:nvPr>
        </p:nvSpPr>
        <p:spPr bwMode="auto">
          <a:xfrm>
            <a:off x="3240088" y="3687763"/>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12" name="Group 362"/>
          <p:cNvGrpSpPr>
            <a:grpSpLocks/>
          </p:cNvGrpSpPr>
          <p:nvPr>
            <p:custDataLst>
              <p:tags r:id="rId263"/>
            </p:custDataLst>
          </p:nvPr>
        </p:nvGrpSpPr>
        <p:grpSpPr bwMode="auto">
          <a:xfrm>
            <a:off x="3252741" y="3609976"/>
            <a:ext cx="417514" cy="201613"/>
            <a:chOff x="912" y="2626"/>
            <a:chExt cx="311" cy="127"/>
          </a:xfrm>
          <a:solidFill>
            <a:srgbClr val="FFFF99"/>
          </a:solidFill>
        </p:grpSpPr>
        <p:sp>
          <p:nvSpPr>
            <p:cNvPr id="2411"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sp>
          <p:nvSpPr>
            <p:cNvPr id="2412"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sp>
          <p:nvSpPr>
            <p:cNvPr id="2413"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grpSp>
      <p:sp>
        <p:nvSpPr>
          <p:cNvPr id="27915" name="Freeform 366"/>
          <p:cNvSpPr>
            <a:spLocks/>
          </p:cNvSpPr>
          <p:nvPr>
            <p:custDataLst>
              <p:tags r:id="rId264"/>
            </p:custDataLst>
          </p:nvPr>
        </p:nvSpPr>
        <p:spPr bwMode="auto">
          <a:xfrm>
            <a:off x="6880225" y="4340225"/>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916" name="Freeform 367"/>
          <p:cNvSpPr>
            <a:spLocks/>
          </p:cNvSpPr>
          <p:nvPr>
            <p:custDataLst>
              <p:tags r:id="rId265"/>
            </p:custDataLst>
          </p:nvPr>
        </p:nvSpPr>
        <p:spPr bwMode="auto">
          <a:xfrm>
            <a:off x="6851651" y="4367213"/>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27917" name="Group 368"/>
          <p:cNvGrpSpPr>
            <a:grpSpLocks/>
          </p:cNvGrpSpPr>
          <p:nvPr>
            <p:custDataLst>
              <p:tags r:id="rId266"/>
            </p:custDataLst>
          </p:nvPr>
        </p:nvGrpSpPr>
        <p:grpSpPr bwMode="auto">
          <a:xfrm>
            <a:off x="6692901" y="3859214"/>
            <a:ext cx="168275" cy="103187"/>
            <a:chOff x="3481" y="2773"/>
            <a:chExt cx="125" cy="65"/>
          </a:xfrm>
          <a:solidFill>
            <a:srgbClr val="336699"/>
          </a:solidFill>
        </p:grpSpPr>
        <p:sp>
          <p:nvSpPr>
            <p:cNvPr id="28053" name="Freeform 36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9525">
              <a:solidFill>
                <a:srgbClr val="FFFFFF"/>
              </a:solidFill>
              <a:round/>
              <a:headEnd/>
              <a:tailEnd/>
            </a:ln>
          </p:spPr>
          <p:txBody>
            <a:bodyPr/>
            <a:lstStyle/>
            <a:p>
              <a:endParaRPr lang="en-AU"/>
            </a:p>
          </p:txBody>
        </p:sp>
        <p:sp>
          <p:nvSpPr>
            <p:cNvPr id="28054"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n-AU"/>
            </a:p>
          </p:txBody>
        </p:sp>
        <p:sp>
          <p:nvSpPr>
            <p:cNvPr id="28055" name="Freeform 371"/>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9525">
              <a:solidFill>
                <a:srgbClr val="FFFFFF"/>
              </a:solidFill>
              <a:round/>
              <a:headEnd/>
              <a:tailEnd/>
            </a:ln>
          </p:spPr>
          <p:txBody>
            <a:bodyPr/>
            <a:lstStyle/>
            <a:p>
              <a:endParaRPr lang="en-AU"/>
            </a:p>
          </p:txBody>
        </p:sp>
        <p:sp>
          <p:nvSpPr>
            <p:cNvPr id="28056" name="Freeform 372"/>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9525">
              <a:solidFill>
                <a:srgbClr val="FFFFFF"/>
              </a:solidFill>
              <a:round/>
              <a:headEnd/>
              <a:tailEnd/>
            </a:ln>
          </p:spPr>
          <p:txBody>
            <a:bodyPr/>
            <a:lstStyle/>
            <a:p>
              <a:endParaRPr lang="en-AU"/>
            </a:p>
          </p:txBody>
        </p:sp>
        <p:sp>
          <p:nvSpPr>
            <p:cNvPr id="28057" name="Freeform 373"/>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9525">
              <a:solidFill>
                <a:srgbClr val="FFFFFF"/>
              </a:solidFill>
              <a:round/>
              <a:headEnd/>
              <a:tailEnd/>
            </a:ln>
          </p:spPr>
          <p:txBody>
            <a:bodyPr/>
            <a:lstStyle/>
            <a:p>
              <a:endParaRPr lang="en-AU"/>
            </a:p>
          </p:txBody>
        </p:sp>
        <p:sp>
          <p:nvSpPr>
            <p:cNvPr id="28058"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n-AU"/>
            </a:p>
          </p:txBody>
        </p:sp>
        <p:sp>
          <p:nvSpPr>
            <p:cNvPr id="28059" name="Freeform 375"/>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9525">
              <a:solidFill>
                <a:srgbClr val="FFFFFF"/>
              </a:solidFill>
              <a:round/>
              <a:headEnd/>
              <a:tailEnd/>
            </a:ln>
          </p:spPr>
          <p:txBody>
            <a:bodyPr/>
            <a:lstStyle/>
            <a:p>
              <a:endParaRPr lang="en-AU"/>
            </a:p>
          </p:txBody>
        </p:sp>
        <p:sp>
          <p:nvSpPr>
            <p:cNvPr id="28060" name="Freeform 37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9525">
              <a:solidFill>
                <a:srgbClr val="FFFFFF"/>
              </a:solidFill>
              <a:round/>
              <a:headEnd/>
              <a:tailEnd/>
            </a:ln>
          </p:spPr>
          <p:txBody>
            <a:bodyPr/>
            <a:lstStyle/>
            <a:p>
              <a:endParaRPr lang="en-AU"/>
            </a:p>
          </p:txBody>
        </p:sp>
        <p:sp>
          <p:nvSpPr>
            <p:cNvPr id="28061" name="Freeform 377"/>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9525">
              <a:solidFill>
                <a:srgbClr val="FFFFFF"/>
              </a:solidFill>
              <a:round/>
              <a:headEnd/>
              <a:tailEnd/>
            </a:ln>
          </p:spPr>
          <p:txBody>
            <a:bodyPr/>
            <a:lstStyle/>
            <a:p>
              <a:endParaRPr lang="en-AU"/>
            </a:p>
          </p:txBody>
        </p:sp>
        <p:sp>
          <p:nvSpPr>
            <p:cNvPr id="28062" name="Freeform 37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9525">
              <a:solidFill>
                <a:srgbClr val="FFFFFF"/>
              </a:solidFill>
              <a:round/>
              <a:headEnd/>
              <a:tailEnd/>
            </a:ln>
          </p:spPr>
          <p:txBody>
            <a:bodyPr/>
            <a:lstStyle/>
            <a:p>
              <a:endParaRPr lang="en-AU"/>
            </a:p>
          </p:txBody>
        </p:sp>
        <p:sp>
          <p:nvSpPr>
            <p:cNvPr id="28063" name="Freeform 37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9525">
              <a:solidFill>
                <a:srgbClr val="FFFFFF"/>
              </a:solidFill>
              <a:round/>
              <a:headEnd/>
              <a:tailEnd/>
            </a:ln>
          </p:spPr>
          <p:txBody>
            <a:bodyPr/>
            <a:lstStyle/>
            <a:p>
              <a:endParaRPr lang="en-AU"/>
            </a:p>
          </p:txBody>
        </p:sp>
      </p:grpSp>
      <p:sp>
        <p:nvSpPr>
          <p:cNvPr id="27918" name="Freeform 380"/>
          <p:cNvSpPr>
            <a:spLocks/>
          </p:cNvSpPr>
          <p:nvPr>
            <p:custDataLst>
              <p:tags r:id="rId267"/>
            </p:custDataLst>
          </p:nvPr>
        </p:nvSpPr>
        <p:spPr bwMode="auto">
          <a:xfrm>
            <a:off x="5821364" y="3851276"/>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19" name="Freeform 381"/>
          <p:cNvSpPr>
            <a:spLocks/>
          </p:cNvSpPr>
          <p:nvPr>
            <p:custDataLst>
              <p:tags r:id="rId268"/>
            </p:custDataLst>
          </p:nvPr>
        </p:nvSpPr>
        <p:spPr bwMode="auto">
          <a:xfrm>
            <a:off x="5832476" y="3824289"/>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0" name="Freeform 382"/>
          <p:cNvSpPr>
            <a:spLocks/>
          </p:cNvSpPr>
          <p:nvPr>
            <p:custDataLst>
              <p:tags r:id="rId269"/>
            </p:custDataLst>
          </p:nvPr>
        </p:nvSpPr>
        <p:spPr bwMode="auto">
          <a:xfrm>
            <a:off x="5934076" y="4367213"/>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21" name="Freeform 383"/>
          <p:cNvSpPr>
            <a:spLocks/>
          </p:cNvSpPr>
          <p:nvPr>
            <p:custDataLst>
              <p:tags r:id="rId270"/>
            </p:custDataLst>
          </p:nvPr>
        </p:nvSpPr>
        <p:spPr bwMode="auto">
          <a:xfrm>
            <a:off x="6081713" y="2935289"/>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922" name="Group 384"/>
          <p:cNvGrpSpPr>
            <a:grpSpLocks/>
          </p:cNvGrpSpPr>
          <p:nvPr>
            <p:custDataLst>
              <p:tags r:id="rId271"/>
            </p:custDataLst>
          </p:nvPr>
        </p:nvGrpSpPr>
        <p:grpSpPr bwMode="auto">
          <a:xfrm>
            <a:off x="4865688" y="3136900"/>
            <a:ext cx="80962" cy="82550"/>
            <a:chOff x="2352" y="2343"/>
            <a:chExt cx="65" cy="53"/>
          </a:xfrm>
        </p:grpSpPr>
        <p:sp>
          <p:nvSpPr>
            <p:cNvPr id="28047" name="Freeform 385"/>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a:solidFill>
                <a:srgbClr val="FFFFFF"/>
              </a:solidFill>
              <a:round/>
              <a:headEnd/>
              <a:tailEnd/>
            </a:ln>
          </p:spPr>
          <p:txBody>
            <a:bodyPr/>
            <a:lstStyle/>
            <a:p>
              <a:endParaRPr lang="en-AU"/>
            </a:p>
          </p:txBody>
        </p:sp>
        <p:sp>
          <p:nvSpPr>
            <p:cNvPr id="28048" name="Freeform 386"/>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a:solidFill>
                <a:srgbClr val="FFFFFF"/>
              </a:solidFill>
              <a:round/>
              <a:headEnd/>
              <a:tailEnd/>
            </a:ln>
          </p:spPr>
          <p:txBody>
            <a:bodyPr/>
            <a:lstStyle/>
            <a:p>
              <a:endParaRPr lang="en-AU"/>
            </a:p>
          </p:txBody>
        </p:sp>
        <p:sp>
          <p:nvSpPr>
            <p:cNvPr id="28049" name="Freeform 387"/>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a:solidFill>
                <a:srgbClr val="FFFFFF"/>
              </a:solidFill>
              <a:round/>
              <a:headEnd/>
              <a:tailEnd/>
            </a:ln>
          </p:spPr>
          <p:txBody>
            <a:bodyPr/>
            <a:lstStyle/>
            <a:p>
              <a:endParaRPr lang="en-AU"/>
            </a:p>
          </p:txBody>
        </p:sp>
        <p:sp>
          <p:nvSpPr>
            <p:cNvPr id="28050" name="Freeform 388"/>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a:solidFill>
                <a:srgbClr val="FFFFFF"/>
              </a:solidFill>
              <a:round/>
              <a:headEnd/>
              <a:tailEnd/>
            </a:ln>
          </p:spPr>
          <p:txBody>
            <a:bodyPr/>
            <a:lstStyle/>
            <a:p>
              <a:endParaRPr lang="en-AU"/>
            </a:p>
          </p:txBody>
        </p:sp>
        <p:sp>
          <p:nvSpPr>
            <p:cNvPr id="28051" name="Freeform 389"/>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a:solidFill>
                <a:srgbClr val="FFFFFF"/>
              </a:solidFill>
              <a:round/>
              <a:headEnd/>
              <a:tailEnd/>
            </a:ln>
          </p:spPr>
          <p:txBody>
            <a:bodyPr/>
            <a:lstStyle/>
            <a:p>
              <a:endParaRPr lang="en-AU"/>
            </a:p>
          </p:txBody>
        </p:sp>
        <p:sp>
          <p:nvSpPr>
            <p:cNvPr id="28052" name="Freeform 390"/>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a:solidFill>
                <a:srgbClr val="FFFFFF"/>
              </a:solidFill>
              <a:round/>
              <a:headEnd/>
              <a:tailEnd/>
            </a:ln>
          </p:spPr>
          <p:txBody>
            <a:bodyPr/>
            <a:lstStyle/>
            <a:p>
              <a:endParaRPr lang="en-AU"/>
            </a:p>
          </p:txBody>
        </p:sp>
      </p:grpSp>
      <p:grpSp>
        <p:nvGrpSpPr>
          <p:cNvPr id="15" name="Group 391"/>
          <p:cNvGrpSpPr>
            <a:grpSpLocks/>
          </p:cNvGrpSpPr>
          <p:nvPr>
            <p:custDataLst>
              <p:tags r:id="rId272"/>
            </p:custDataLst>
          </p:nvPr>
        </p:nvGrpSpPr>
        <p:grpSpPr bwMode="auto">
          <a:xfrm>
            <a:off x="2711452" y="1196977"/>
            <a:ext cx="1897063" cy="1133475"/>
            <a:chOff x="527" y="1110"/>
            <a:chExt cx="1410" cy="709"/>
          </a:xfrm>
          <a:solidFill>
            <a:srgbClr val="336699"/>
          </a:solidFill>
        </p:grpSpPr>
        <p:sp>
          <p:nvSpPr>
            <p:cNvPr id="2440"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1"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2"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3"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4"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5"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6"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7"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8"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9"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0"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1"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2"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3"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4"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5"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6"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7"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8"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9"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0"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1"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2"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3"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4"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5"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6"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7"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8"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9"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0"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1"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2"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3"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4"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5"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6"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7"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8"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9"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0"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1" name="Freeform 433"/>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924" name="Freeform 434"/>
          <p:cNvSpPr>
            <a:spLocks/>
          </p:cNvSpPr>
          <p:nvPr>
            <p:custDataLst>
              <p:tags r:id="rId273"/>
            </p:custDataLst>
          </p:nvPr>
        </p:nvSpPr>
        <p:spPr bwMode="auto">
          <a:xfrm>
            <a:off x="6281738" y="3541713"/>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5" name="Freeform 435"/>
          <p:cNvSpPr>
            <a:spLocks/>
          </p:cNvSpPr>
          <p:nvPr>
            <p:custDataLst>
              <p:tags r:id="rId274"/>
            </p:custDataLst>
          </p:nvPr>
        </p:nvSpPr>
        <p:spPr bwMode="auto">
          <a:xfrm>
            <a:off x="6388100" y="3692525"/>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6" name="Freeform 436"/>
          <p:cNvSpPr>
            <a:spLocks/>
          </p:cNvSpPr>
          <p:nvPr>
            <p:custDataLst>
              <p:tags r:id="rId275"/>
            </p:custDataLst>
          </p:nvPr>
        </p:nvSpPr>
        <p:spPr bwMode="auto">
          <a:xfrm>
            <a:off x="5878514" y="2928938"/>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7" name="Freeform 437"/>
          <p:cNvSpPr>
            <a:spLocks/>
          </p:cNvSpPr>
          <p:nvPr>
            <p:custDataLst>
              <p:tags r:id="rId276"/>
            </p:custDataLst>
          </p:nvPr>
        </p:nvSpPr>
        <p:spPr bwMode="auto">
          <a:xfrm>
            <a:off x="5554664" y="2311400"/>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6" name="Group 438"/>
          <p:cNvGrpSpPr>
            <a:grpSpLocks/>
          </p:cNvGrpSpPr>
          <p:nvPr>
            <p:custDataLst>
              <p:tags r:id="rId277"/>
            </p:custDataLst>
          </p:nvPr>
        </p:nvGrpSpPr>
        <p:grpSpPr bwMode="auto">
          <a:xfrm>
            <a:off x="3871914" y="4373562"/>
            <a:ext cx="384175" cy="1031876"/>
            <a:chOff x="1589" y="3126"/>
            <a:chExt cx="290" cy="657"/>
          </a:xfrm>
          <a:solidFill>
            <a:srgbClr val="336699"/>
          </a:solidFill>
        </p:grpSpPr>
        <p:sp>
          <p:nvSpPr>
            <p:cNvPr id="2487"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8"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9"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929" name="Freeform 442"/>
          <p:cNvSpPr>
            <a:spLocks/>
          </p:cNvSpPr>
          <p:nvPr>
            <p:custDataLst>
              <p:tags r:id="rId278"/>
            </p:custDataLst>
          </p:nvPr>
        </p:nvSpPr>
        <p:spPr bwMode="auto">
          <a:xfrm>
            <a:off x="6564314" y="2324100"/>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0" name="Freeform 443"/>
          <p:cNvSpPr>
            <a:spLocks/>
          </p:cNvSpPr>
          <p:nvPr>
            <p:custDataLst>
              <p:tags r:id="rId279"/>
            </p:custDataLst>
          </p:nvPr>
        </p:nvSpPr>
        <p:spPr bwMode="auto">
          <a:xfrm>
            <a:off x="6030913" y="1897063"/>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1" name="Freeform 444"/>
          <p:cNvSpPr>
            <a:spLocks/>
          </p:cNvSpPr>
          <p:nvPr>
            <p:custDataLst>
              <p:tags r:id="rId280"/>
            </p:custDataLst>
          </p:nvPr>
        </p:nvSpPr>
        <p:spPr bwMode="auto">
          <a:xfrm>
            <a:off x="5888038" y="2228851"/>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255997"/>
          </a:solidFill>
          <a:ln w="9525">
            <a:solidFill>
              <a:schemeClr val="accent1"/>
            </a:solidFill>
            <a:round/>
            <a:headEnd/>
            <a:tailEnd/>
          </a:ln>
        </p:spPr>
        <p:txBody>
          <a:bodyPr lIns="91434" tIns="45717" rIns="91434" bIns="45717"/>
          <a:lstStyle/>
          <a:p>
            <a:endParaRPr lang="en-AU"/>
          </a:p>
        </p:txBody>
      </p:sp>
      <p:sp>
        <p:nvSpPr>
          <p:cNvPr id="27932" name="Freeform 445"/>
          <p:cNvSpPr>
            <a:spLocks/>
          </p:cNvSpPr>
          <p:nvPr>
            <p:custDataLst>
              <p:tags r:id="rId281"/>
            </p:custDataLst>
          </p:nvPr>
        </p:nvSpPr>
        <p:spPr bwMode="auto">
          <a:xfrm>
            <a:off x="4252913" y="3665538"/>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33" name="Freeform 446"/>
          <p:cNvSpPr>
            <a:spLocks/>
          </p:cNvSpPr>
          <p:nvPr>
            <p:custDataLst>
              <p:tags r:id="rId282"/>
            </p:custDataLst>
          </p:nvPr>
        </p:nvSpPr>
        <p:spPr bwMode="auto">
          <a:xfrm>
            <a:off x="6046788" y="2263775"/>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4" name="Freeform 447"/>
          <p:cNvSpPr>
            <a:spLocks/>
          </p:cNvSpPr>
          <p:nvPr>
            <p:custDataLst>
              <p:tags r:id="rId283"/>
            </p:custDataLst>
          </p:nvPr>
        </p:nvSpPr>
        <p:spPr bwMode="auto">
          <a:xfrm>
            <a:off x="5402263" y="3190875"/>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5" name="Freeform 448"/>
          <p:cNvSpPr>
            <a:spLocks/>
          </p:cNvSpPr>
          <p:nvPr>
            <p:custDataLst>
              <p:tags r:id="rId284"/>
            </p:custDataLst>
          </p:nvPr>
        </p:nvSpPr>
        <p:spPr bwMode="auto">
          <a:xfrm>
            <a:off x="5749926" y="3259138"/>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936" name="Freeform 449"/>
          <p:cNvSpPr>
            <a:spLocks/>
          </p:cNvSpPr>
          <p:nvPr>
            <p:custDataLst>
              <p:tags r:id="rId285"/>
            </p:custDataLst>
          </p:nvPr>
        </p:nvSpPr>
        <p:spPr bwMode="auto">
          <a:xfrm>
            <a:off x="8201026" y="3017838"/>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7" name="Freeform 450"/>
          <p:cNvSpPr>
            <a:spLocks/>
          </p:cNvSpPr>
          <p:nvPr>
            <p:custDataLst>
              <p:tags r:id="rId286"/>
            </p:custDataLst>
          </p:nvPr>
        </p:nvSpPr>
        <p:spPr bwMode="auto">
          <a:xfrm>
            <a:off x="3575050" y="3284539"/>
            <a:ext cx="307976"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336699"/>
          </a:solidFill>
          <a:ln w="9525">
            <a:solidFill>
              <a:schemeClr val="bg1">
                <a:lumMod val="95000"/>
              </a:schemeClr>
            </a:solidFill>
            <a:round/>
            <a:headEnd/>
            <a:tailEnd/>
          </a:ln>
        </p:spPr>
        <p:txBody>
          <a:bodyPr lIns="91434" tIns="45717" rIns="91434" bIns="45717"/>
          <a:lstStyle/>
          <a:p>
            <a:endParaRPr lang="en-AU"/>
          </a:p>
        </p:txBody>
      </p:sp>
      <p:sp>
        <p:nvSpPr>
          <p:cNvPr id="27938" name="Freeform 451"/>
          <p:cNvSpPr>
            <a:spLocks/>
          </p:cNvSpPr>
          <p:nvPr>
            <p:custDataLst>
              <p:tags r:id="rId287"/>
            </p:custDataLst>
          </p:nvPr>
        </p:nvSpPr>
        <p:spPr bwMode="auto">
          <a:xfrm>
            <a:off x="5808664" y="3549650"/>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939" name="Freeform 452"/>
          <p:cNvSpPr>
            <a:spLocks/>
          </p:cNvSpPr>
          <p:nvPr>
            <p:custDataLst>
              <p:tags r:id="rId288"/>
            </p:custDataLst>
          </p:nvPr>
        </p:nvSpPr>
        <p:spPr bwMode="auto">
          <a:xfrm>
            <a:off x="5840413" y="2192338"/>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0" name="Freeform 453"/>
          <p:cNvSpPr>
            <a:spLocks/>
          </p:cNvSpPr>
          <p:nvPr>
            <p:custDataLst>
              <p:tags r:id="rId289"/>
            </p:custDataLst>
          </p:nvPr>
        </p:nvSpPr>
        <p:spPr bwMode="auto">
          <a:xfrm>
            <a:off x="5791201" y="2051050"/>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1" name="Freeform 454"/>
          <p:cNvSpPr>
            <a:spLocks/>
          </p:cNvSpPr>
          <p:nvPr>
            <p:custDataLst>
              <p:tags r:id="rId290"/>
            </p:custDataLst>
          </p:nvPr>
        </p:nvSpPr>
        <p:spPr bwMode="auto">
          <a:xfrm>
            <a:off x="5754688" y="1906589"/>
            <a:ext cx="30162"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2" name="Freeform 455"/>
          <p:cNvSpPr>
            <a:spLocks/>
          </p:cNvSpPr>
          <p:nvPr>
            <p:custDataLst>
              <p:tags r:id="rId291"/>
            </p:custDataLst>
          </p:nvPr>
        </p:nvSpPr>
        <p:spPr bwMode="auto">
          <a:xfrm>
            <a:off x="5726113" y="1911350"/>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3" name="Freeform 456"/>
          <p:cNvSpPr>
            <a:spLocks/>
          </p:cNvSpPr>
          <p:nvPr>
            <p:custDataLst>
              <p:tags r:id="rId292"/>
            </p:custDataLst>
          </p:nvPr>
        </p:nvSpPr>
        <p:spPr bwMode="auto">
          <a:xfrm>
            <a:off x="5695950" y="1857375"/>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4" name="Freeform 457"/>
          <p:cNvSpPr>
            <a:spLocks/>
          </p:cNvSpPr>
          <p:nvPr>
            <p:custDataLst>
              <p:tags r:id="rId293"/>
            </p:custDataLst>
          </p:nvPr>
        </p:nvSpPr>
        <p:spPr bwMode="auto">
          <a:xfrm>
            <a:off x="6127750" y="2662239"/>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5" name="Freeform 458"/>
          <p:cNvSpPr>
            <a:spLocks/>
          </p:cNvSpPr>
          <p:nvPr>
            <p:custDataLst>
              <p:tags r:id="rId294"/>
            </p:custDataLst>
          </p:nvPr>
        </p:nvSpPr>
        <p:spPr bwMode="auto">
          <a:xfrm>
            <a:off x="5722938" y="2297113"/>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6" name="Freeform 459"/>
          <p:cNvSpPr>
            <a:spLocks/>
          </p:cNvSpPr>
          <p:nvPr>
            <p:custDataLst>
              <p:tags r:id="rId295"/>
            </p:custDataLst>
          </p:nvPr>
        </p:nvSpPr>
        <p:spPr bwMode="auto">
          <a:xfrm>
            <a:off x="5362576" y="2047875"/>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7" name="Freeform 460"/>
          <p:cNvSpPr>
            <a:spLocks/>
          </p:cNvSpPr>
          <p:nvPr>
            <p:custDataLst>
              <p:tags r:id="rId296"/>
            </p:custDataLst>
          </p:nvPr>
        </p:nvSpPr>
        <p:spPr bwMode="auto">
          <a:xfrm>
            <a:off x="6443663" y="2282825"/>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8" name="Freeform 461"/>
          <p:cNvSpPr>
            <a:spLocks/>
          </p:cNvSpPr>
          <p:nvPr>
            <p:custDataLst>
              <p:tags r:id="rId297"/>
            </p:custDataLst>
          </p:nvPr>
        </p:nvSpPr>
        <p:spPr bwMode="auto">
          <a:xfrm>
            <a:off x="5992814" y="2343150"/>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9" name="Freeform 462"/>
          <p:cNvSpPr>
            <a:spLocks/>
          </p:cNvSpPr>
          <p:nvPr>
            <p:custDataLst>
              <p:tags r:id="rId298"/>
            </p:custDataLst>
          </p:nvPr>
        </p:nvSpPr>
        <p:spPr bwMode="auto">
          <a:xfrm>
            <a:off x="6076950" y="2535238"/>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50" name="Freeform 463"/>
          <p:cNvSpPr>
            <a:spLocks/>
          </p:cNvSpPr>
          <p:nvPr>
            <p:custDataLst>
              <p:tags r:id="rId299"/>
            </p:custDataLst>
          </p:nvPr>
        </p:nvSpPr>
        <p:spPr bwMode="auto">
          <a:xfrm>
            <a:off x="5156201" y="3267075"/>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951" name="Freeform 464"/>
          <p:cNvSpPr>
            <a:spLocks/>
          </p:cNvSpPr>
          <p:nvPr>
            <p:custDataLst>
              <p:tags r:id="rId300"/>
            </p:custDataLst>
          </p:nvPr>
        </p:nvSpPr>
        <p:spPr bwMode="auto">
          <a:xfrm>
            <a:off x="7200900" y="2530476"/>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36699"/>
          </a:solidFill>
          <a:ln w="9525">
            <a:solidFill>
              <a:srgbClr val="336699"/>
            </a:solidFill>
            <a:round/>
            <a:headEnd/>
            <a:tailEnd/>
          </a:ln>
        </p:spPr>
        <p:txBody>
          <a:bodyPr lIns="91434" tIns="45717" rIns="91434" bIns="45717"/>
          <a:lstStyle/>
          <a:p>
            <a:endParaRPr lang="en-AU"/>
          </a:p>
        </p:txBody>
      </p:sp>
      <p:sp>
        <p:nvSpPr>
          <p:cNvPr id="27952" name="Freeform 465"/>
          <p:cNvSpPr>
            <a:spLocks/>
          </p:cNvSpPr>
          <p:nvPr>
            <p:custDataLst>
              <p:tags r:id="rId301"/>
            </p:custDataLst>
          </p:nvPr>
        </p:nvSpPr>
        <p:spPr bwMode="auto">
          <a:xfrm>
            <a:off x="5322888" y="3325814"/>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3" name="Freeform 466"/>
          <p:cNvSpPr>
            <a:spLocks/>
          </p:cNvSpPr>
          <p:nvPr>
            <p:custDataLst>
              <p:tags r:id="rId302"/>
            </p:custDataLst>
          </p:nvPr>
        </p:nvSpPr>
        <p:spPr bwMode="auto">
          <a:xfrm>
            <a:off x="6391275" y="3521076"/>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54" name="Freeform 467"/>
          <p:cNvSpPr>
            <a:spLocks/>
          </p:cNvSpPr>
          <p:nvPr>
            <p:custDataLst>
              <p:tags r:id="rId303"/>
            </p:custDataLst>
          </p:nvPr>
        </p:nvSpPr>
        <p:spPr bwMode="auto">
          <a:xfrm>
            <a:off x="6373813" y="2606676"/>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5" name="Freeform 468"/>
          <p:cNvSpPr>
            <a:spLocks/>
          </p:cNvSpPr>
          <p:nvPr>
            <p:custDataLst>
              <p:tags r:id="rId304"/>
            </p:custDataLst>
          </p:nvPr>
        </p:nvSpPr>
        <p:spPr bwMode="auto">
          <a:xfrm>
            <a:off x="6672264" y="2709863"/>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956" name="Freeform 469"/>
          <p:cNvSpPr>
            <a:spLocks/>
          </p:cNvSpPr>
          <p:nvPr>
            <p:custDataLst>
              <p:tags r:id="rId305"/>
            </p:custDataLst>
          </p:nvPr>
        </p:nvSpPr>
        <p:spPr bwMode="auto">
          <a:xfrm>
            <a:off x="5959476" y="1844676"/>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7" name="Freeform 470"/>
          <p:cNvSpPr>
            <a:spLocks/>
          </p:cNvSpPr>
          <p:nvPr>
            <p:custDataLst>
              <p:tags r:id="rId306"/>
            </p:custDataLst>
          </p:nvPr>
        </p:nvSpPr>
        <p:spPr bwMode="auto">
          <a:xfrm>
            <a:off x="6370638" y="2565400"/>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58" name="Freeform 471"/>
          <p:cNvSpPr>
            <a:spLocks/>
          </p:cNvSpPr>
          <p:nvPr>
            <p:custDataLst>
              <p:tags r:id="rId307"/>
            </p:custDataLst>
          </p:nvPr>
        </p:nvSpPr>
        <p:spPr bwMode="auto">
          <a:xfrm>
            <a:off x="6186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9" name="Freeform 472"/>
          <p:cNvSpPr>
            <a:spLocks/>
          </p:cNvSpPr>
          <p:nvPr>
            <p:custDataLst>
              <p:tags r:id="rId308"/>
            </p:custDataLst>
          </p:nvPr>
        </p:nvSpPr>
        <p:spPr bwMode="auto">
          <a:xfrm>
            <a:off x="5957888" y="1892300"/>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0" name="Freeform 473"/>
          <p:cNvSpPr>
            <a:spLocks/>
          </p:cNvSpPr>
          <p:nvPr>
            <p:custDataLst>
              <p:tags r:id="rId309"/>
            </p:custDataLst>
          </p:nvPr>
        </p:nvSpPr>
        <p:spPr bwMode="auto">
          <a:xfrm>
            <a:off x="5664200" y="2078039"/>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1" name="Freeform 474"/>
          <p:cNvSpPr>
            <a:spLocks/>
          </p:cNvSpPr>
          <p:nvPr>
            <p:custDataLst>
              <p:tags r:id="rId310"/>
            </p:custDataLst>
          </p:nvPr>
        </p:nvSpPr>
        <p:spPr bwMode="auto">
          <a:xfrm>
            <a:off x="6361113" y="3962400"/>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2" name="Freeform 475"/>
          <p:cNvSpPr>
            <a:spLocks/>
          </p:cNvSpPr>
          <p:nvPr>
            <p:custDataLst>
              <p:tags r:id="rId311"/>
            </p:custDataLst>
          </p:nvPr>
        </p:nvSpPr>
        <p:spPr bwMode="auto">
          <a:xfrm>
            <a:off x="5853114" y="2533650"/>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63" name="Freeform 476"/>
          <p:cNvSpPr>
            <a:spLocks/>
          </p:cNvSpPr>
          <p:nvPr>
            <p:custDataLst>
              <p:tags r:id="rId312"/>
            </p:custDataLst>
          </p:nvPr>
        </p:nvSpPr>
        <p:spPr bwMode="auto">
          <a:xfrm>
            <a:off x="6172201" y="4154489"/>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4" name="Freeform 477"/>
          <p:cNvSpPr>
            <a:spLocks/>
          </p:cNvSpPr>
          <p:nvPr>
            <p:custDataLst>
              <p:tags r:id="rId313"/>
            </p:custDataLst>
          </p:nvPr>
        </p:nvSpPr>
        <p:spPr bwMode="auto">
          <a:xfrm>
            <a:off x="6084889" y="3930650"/>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5" name="Freeform 478"/>
          <p:cNvSpPr>
            <a:spLocks/>
          </p:cNvSpPr>
          <p:nvPr>
            <p:custDataLst>
              <p:tags r:id="rId314"/>
            </p:custDataLst>
          </p:nvPr>
        </p:nvSpPr>
        <p:spPr bwMode="auto">
          <a:xfrm>
            <a:off x="5821364" y="4203700"/>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6" name="Freeform 479"/>
          <p:cNvSpPr>
            <a:spLocks/>
          </p:cNvSpPr>
          <p:nvPr>
            <p:custDataLst>
              <p:tags r:id="rId315"/>
            </p:custDataLst>
          </p:nvPr>
        </p:nvSpPr>
        <p:spPr bwMode="auto">
          <a:xfrm>
            <a:off x="5100639" y="3133725"/>
            <a:ext cx="161925"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7" name="Freeform 480"/>
          <p:cNvSpPr>
            <a:spLocks/>
          </p:cNvSpPr>
          <p:nvPr>
            <p:custDataLst>
              <p:tags r:id="rId316"/>
            </p:custDataLst>
          </p:nvPr>
        </p:nvSpPr>
        <p:spPr bwMode="auto">
          <a:xfrm>
            <a:off x="6273801" y="3695701"/>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68" name="Freeform 481"/>
          <p:cNvSpPr>
            <a:spLocks/>
          </p:cNvSpPr>
          <p:nvPr>
            <p:custDataLst>
              <p:tags r:id="rId317"/>
            </p:custDataLst>
          </p:nvPr>
        </p:nvSpPr>
        <p:spPr bwMode="auto">
          <a:xfrm>
            <a:off x="8837613" y="2209800"/>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69" name="Freeform 482"/>
          <p:cNvSpPr>
            <a:spLocks/>
          </p:cNvSpPr>
          <p:nvPr>
            <p:custDataLst>
              <p:tags r:id="rId318"/>
            </p:custDataLst>
          </p:nvPr>
        </p:nvSpPr>
        <p:spPr bwMode="auto">
          <a:xfrm>
            <a:off x="8696325" y="2211388"/>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0" name="Freeform 483"/>
          <p:cNvSpPr>
            <a:spLocks/>
          </p:cNvSpPr>
          <p:nvPr>
            <p:custDataLst>
              <p:tags r:id="rId319"/>
            </p:custDataLst>
          </p:nvPr>
        </p:nvSpPr>
        <p:spPr bwMode="auto">
          <a:xfrm>
            <a:off x="8666164" y="2565400"/>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1" name="Freeform 484"/>
          <p:cNvSpPr>
            <a:spLocks/>
          </p:cNvSpPr>
          <p:nvPr>
            <p:custDataLst>
              <p:tags r:id="rId320"/>
            </p:custDataLst>
          </p:nvPr>
        </p:nvSpPr>
        <p:spPr bwMode="auto">
          <a:xfrm>
            <a:off x="8612189" y="2579689"/>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2" name="Freeform 485"/>
          <p:cNvSpPr>
            <a:spLocks/>
          </p:cNvSpPr>
          <p:nvPr>
            <p:custDataLst>
              <p:tags r:id="rId321"/>
            </p:custDataLst>
          </p:nvPr>
        </p:nvSpPr>
        <p:spPr bwMode="auto">
          <a:xfrm>
            <a:off x="8628063" y="2341564"/>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3" name="Freeform 486"/>
          <p:cNvSpPr>
            <a:spLocks/>
          </p:cNvSpPr>
          <p:nvPr>
            <p:custDataLst>
              <p:tags r:id="rId322"/>
            </p:custDataLst>
          </p:nvPr>
        </p:nvSpPr>
        <p:spPr bwMode="auto">
          <a:xfrm>
            <a:off x="6211888" y="1231901"/>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4" name="Freeform 487"/>
          <p:cNvSpPr>
            <a:spLocks/>
          </p:cNvSpPr>
          <p:nvPr>
            <p:custDataLst>
              <p:tags r:id="rId323"/>
            </p:custDataLst>
          </p:nvPr>
        </p:nvSpPr>
        <p:spPr bwMode="auto">
          <a:xfrm>
            <a:off x="6354763" y="12144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5" name="Freeform 488"/>
          <p:cNvSpPr>
            <a:spLocks/>
          </p:cNvSpPr>
          <p:nvPr>
            <p:custDataLst>
              <p:tags r:id="rId324"/>
            </p:custDataLst>
          </p:nvPr>
        </p:nvSpPr>
        <p:spPr bwMode="auto">
          <a:xfrm>
            <a:off x="6391276" y="12223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6" name="Freeform 489"/>
          <p:cNvSpPr>
            <a:spLocks/>
          </p:cNvSpPr>
          <p:nvPr>
            <p:custDataLst>
              <p:tags r:id="rId325"/>
            </p:custDataLst>
          </p:nvPr>
        </p:nvSpPr>
        <p:spPr bwMode="auto">
          <a:xfrm>
            <a:off x="6924676" y="1408113"/>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7" name="Freeform 490"/>
          <p:cNvSpPr>
            <a:spLocks/>
          </p:cNvSpPr>
          <p:nvPr>
            <p:custDataLst>
              <p:tags r:id="rId326"/>
            </p:custDataLst>
          </p:nvPr>
        </p:nvSpPr>
        <p:spPr bwMode="auto">
          <a:xfrm>
            <a:off x="6834189" y="1266825"/>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8" name="Freeform 491"/>
          <p:cNvSpPr>
            <a:spLocks/>
          </p:cNvSpPr>
          <p:nvPr>
            <p:custDataLst>
              <p:tags r:id="rId327"/>
            </p:custDataLst>
          </p:nvPr>
        </p:nvSpPr>
        <p:spPr bwMode="auto">
          <a:xfrm>
            <a:off x="6856414" y="1225551"/>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9" name="Freeform 492"/>
          <p:cNvSpPr>
            <a:spLocks/>
          </p:cNvSpPr>
          <p:nvPr>
            <p:custDataLst>
              <p:tags r:id="rId328"/>
            </p:custDataLst>
          </p:nvPr>
        </p:nvSpPr>
        <p:spPr bwMode="auto">
          <a:xfrm>
            <a:off x="7000876" y="1341438"/>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0" name="Freeform 493"/>
          <p:cNvSpPr>
            <a:spLocks/>
          </p:cNvSpPr>
          <p:nvPr>
            <p:custDataLst>
              <p:tags r:id="rId329"/>
            </p:custDataLst>
          </p:nvPr>
        </p:nvSpPr>
        <p:spPr bwMode="auto">
          <a:xfrm>
            <a:off x="7054851" y="1225551"/>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1" name="Freeform 494"/>
          <p:cNvSpPr>
            <a:spLocks/>
          </p:cNvSpPr>
          <p:nvPr>
            <p:custDataLst>
              <p:tags r:id="rId330"/>
            </p:custDataLst>
          </p:nvPr>
        </p:nvSpPr>
        <p:spPr bwMode="auto">
          <a:xfrm>
            <a:off x="7115175" y="1250951"/>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2" name="Freeform 495"/>
          <p:cNvSpPr>
            <a:spLocks/>
          </p:cNvSpPr>
          <p:nvPr>
            <p:custDataLst>
              <p:tags r:id="rId331"/>
            </p:custDataLst>
          </p:nvPr>
        </p:nvSpPr>
        <p:spPr bwMode="auto">
          <a:xfrm>
            <a:off x="7232650" y="1265238"/>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3" name="Freeform 496"/>
          <p:cNvSpPr>
            <a:spLocks/>
          </p:cNvSpPr>
          <p:nvPr>
            <p:custDataLst>
              <p:tags r:id="rId332"/>
            </p:custDataLst>
          </p:nvPr>
        </p:nvSpPr>
        <p:spPr bwMode="auto">
          <a:xfrm>
            <a:off x="7759701" y="1390650"/>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4" name="Freeform 497"/>
          <p:cNvSpPr>
            <a:spLocks/>
          </p:cNvSpPr>
          <p:nvPr>
            <p:custDataLst>
              <p:tags r:id="rId333"/>
            </p:custDataLst>
          </p:nvPr>
        </p:nvSpPr>
        <p:spPr bwMode="auto">
          <a:xfrm>
            <a:off x="7826375" y="1408113"/>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5" name="Freeform 498"/>
          <p:cNvSpPr>
            <a:spLocks/>
          </p:cNvSpPr>
          <p:nvPr>
            <p:custDataLst>
              <p:tags r:id="rId334"/>
            </p:custDataLst>
          </p:nvPr>
        </p:nvSpPr>
        <p:spPr bwMode="auto">
          <a:xfrm>
            <a:off x="7856539" y="1419225"/>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6" name="Freeform 499"/>
          <p:cNvSpPr>
            <a:spLocks/>
          </p:cNvSpPr>
          <p:nvPr>
            <p:custDataLst>
              <p:tags r:id="rId335"/>
            </p:custDataLst>
          </p:nvPr>
        </p:nvSpPr>
        <p:spPr bwMode="auto">
          <a:xfrm>
            <a:off x="7627938" y="1392239"/>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7" name="Freeform 500"/>
          <p:cNvSpPr>
            <a:spLocks/>
          </p:cNvSpPr>
          <p:nvPr>
            <p:custDataLst>
              <p:tags r:id="rId336"/>
            </p:custDataLst>
          </p:nvPr>
        </p:nvSpPr>
        <p:spPr bwMode="auto">
          <a:xfrm>
            <a:off x="7927975" y="1333500"/>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8" name="Freeform 501"/>
          <p:cNvSpPr>
            <a:spLocks/>
          </p:cNvSpPr>
          <p:nvPr>
            <p:custDataLst>
              <p:tags r:id="rId337"/>
            </p:custDataLst>
          </p:nvPr>
        </p:nvSpPr>
        <p:spPr bwMode="auto">
          <a:xfrm>
            <a:off x="8088313" y="1341438"/>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9" name="Freeform 502"/>
          <p:cNvSpPr>
            <a:spLocks/>
          </p:cNvSpPr>
          <p:nvPr>
            <p:custDataLst>
              <p:tags r:id="rId338"/>
            </p:custDataLst>
          </p:nvPr>
        </p:nvSpPr>
        <p:spPr bwMode="auto">
          <a:xfrm>
            <a:off x="8048625" y="1389064"/>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0" name="Freeform 503"/>
          <p:cNvSpPr>
            <a:spLocks/>
          </p:cNvSpPr>
          <p:nvPr>
            <p:custDataLst>
              <p:tags r:id="rId339"/>
            </p:custDataLst>
          </p:nvPr>
        </p:nvSpPr>
        <p:spPr bwMode="auto">
          <a:xfrm>
            <a:off x="8027989" y="1385889"/>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1" name="Line 504"/>
          <p:cNvSpPr>
            <a:spLocks noChangeShapeType="1"/>
          </p:cNvSpPr>
          <p:nvPr>
            <p:custDataLst>
              <p:tags r:id="rId340"/>
            </p:custDataLst>
          </p:nvPr>
        </p:nvSpPr>
        <p:spPr bwMode="auto">
          <a:xfrm flipV="1">
            <a:off x="8029575" y="1384300"/>
            <a:ext cx="0" cy="15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992" name="Freeform 505"/>
          <p:cNvSpPr>
            <a:spLocks/>
          </p:cNvSpPr>
          <p:nvPr>
            <p:custDataLst>
              <p:tags r:id="rId341"/>
            </p:custDataLst>
          </p:nvPr>
        </p:nvSpPr>
        <p:spPr bwMode="auto">
          <a:xfrm>
            <a:off x="7199313" y="1312863"/>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3" name="Freeform 506"/>
          <p:cNvSpPr>
            <a:spLocks/>
          </p:cNvSpPr>
          <p:nvPr>
            <p:custDataLst>
              <p:tags r:id="rId342"/>
            </p:custDataLst>
          </p:nvPr>
        </p:nvSpPr>
        <p:spPr bwMode="auto">
          <a:xfrm>
            <a:off x="7948614" y="1384300"/>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4" name="Freeform 507"/>
          <p:cNvSpPr>
            <a:spLocks/>
          </p:cNvSpPr>
          <p:nvPr>
            <p:custDataLst>
              <p:tags r:id="rId343"/>
            </p:custDataLst>
          </p:nvPr>
        </p:nvSpPr>
        <p:spPr bwMode="auto">
          <a:xfrm>
            <a:off x="7902576" y="1347788"/>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5" name="Freeform 508"/>
          <p:cNvSpPr>
            <a:spLocks/>
          </p:cNvSpPr>
          <p:nvPr>
            <p:custDataLst>
              <p:tags r:id="rId344"/>
            </p:custDataLst>
          </p:nvPr>
        </p:nvSpPr>
        <p:spPr bwMode="auto">
          <a:xfrm>
            <a:off x="8402638" y="1917700"/>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6" name="Freeform 509"/>
          <p:cNvSpPr>
            <a:spLocks/>
          </p:cNvSpPr>
          <p:nvPr>
            <p:custDataLst>
              <p:tags r:id="rId345"/>
            </p:custDataLst>
          </p:nvPr>
        </p:nvSpPr>
        <p:spPr bwMode="auto">
          <a:xfrm>
            <a:off x="8696326" y="1439864"/>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7" name="Freeform 510"/>
          <p:cNvSpPr>
            <a:spLocks/>
          </p:cNvSpPr>
          <p:nvPr>
            <p:custDataLst>
              <p:tags r:id="rId346"/>
            </p:custDataLst>
          </p:nvPr>
        </p:nvSpPr>
        <p:spPr bwMode="auto">
          <a:xfrm>
            <a:off x="8832850" y="1792288"/>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8" name="Freeform 511"/>
          <p:cNvSpPr>
            <a:spLocks/>
          </p:cNvSpPr>
          <p:nvPr>
            <p:custDataLst>
              <p:tags r:id="rId347"/>
            </p:custDataLst>
          </p:nvPr>
        </p:nvSpPr>
        <p:spPr bwMode="auto">
          <a:xfrm>
            <a:off x="8982076" y="1905001"/>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9" name="Freeform 512"/>
          <p:cNvSpPr>
            <a:spLocks/>
          </p:cNvSpPr>
          <p:nvPr>
            <p:custDataLst>
              <p:tags r:id="rId348"/>
            </p:custDataLst>
          </p:nvPr>
        </p:nvSpPr>
        <p:spPr bwMode="auto">
          <a:xfrm>
            <a:off x="9032875" y="1920875"/>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0" name="Freeform 513"/>
          <p:cNvSpPr>
            <a:spLocks/>
          </p:cNvSpPr>
          <p:nvPr>
            <p:custDataLst>
              <p:tags r:id="rId349"/>
            </p:custDataLst>
          </p:nvPr>
        </p:nvSpPr>
        <p:spPr bwMode="auto">
          <a:xfrm>
            <a:off x="8897939" y="2047875"/>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1" name="Freeform 514"/>
          <p:cNvSpPr>
            <a:spLocks/>
          </p:cNvSpPr>
          <p:nvPr>
            <p:custDataLst>
              <p:tags r:id="rId350"/>
            </p:custDataLst>
          </p:nvPr>
        </p:nvSpPr>
        <p:spPr bwMode="auto">
          <a:xfrm>
            <a:off x="8909051" y="2076451"/>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2" name="Freeform 515"/>
          <p:cNvSpPr>
            <a:spLocks/>
          </p:cNvSpPr>
          <p:nvPr>
            <p:custDataLst>
              <p:tags r:id="rId351"/>
            </p:custDataLst>
          </p:nvPr>
        </p:nvSpPr>
        <p:spPr bwMode="auto">
          <a:xfrm>
            <a:off x="8896351" y="2159001"/>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3" name="Freeform 516"/>
          <p:cNvSpPr>
            <a:spLocks/>
          </p:cNvSpPr>
          <p:nvPr>
            <p:custDataLst>
              <p:tags r:id="rId352"/>
            </p:custDataLst>
          </p:nvPr>
        </p:nvSpPr>
        <p:spPr bwMode="auto">
          <a:xfrm>
            <a:off x="8874125" y="219392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4" name="Freeform 517"/>
          <p:cNvSpPr>
            <a:spLocks/>
          </p:cNvSpPr>
          <p:nvPr>
            <p:custDataLst>
              <p:tags r:id="rId353"/>
            </p:custDataLst>
          </p:nvPr>
        </p:nvSpPr>
        <p:spPr bwMode="auto">
          <a:xfrm>
            <a:off x="8874125" y="2193925"/>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5" name="Freeform 518"/>
          <p:cNvSpPr>
            <a:spLocks/>
          </p:cNvSpPr>
          <p:nvPr>
            <p:custDataLst>
              <p:tags r:id="rId354"/>
            </p:custDataLst>
          </p:nvPr>
        </p:nvSpPr>
        <p:spPr bwMode="auto">
          <a:xfrm>
            <a:off x="8628063" y="1781176"/>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6" name="Freeform 519"/>
          <p:cNvSpPr>
            <a:spLocks/>
          </p:cNvSpPr>
          <p:nvPr>
            <p:custDataLst>
              <p:tags r:id="rId355"/>
            </p:custDataLst>
          </p:nvPr>
        </p:nvSpPr>
        <p:spPr bwMode="auto">
          <a:xfrm>
            <a:off x="5943601" y="1920875"/>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07" name="Freeform 520"/>
          <p:cNvSpPr>
            <a:spLocks/>
          </p:cNvSpPr>
          <p:nvPr>
            <p:custDataLst>
              <p:tags r:id="rId356"/>
            </p:custDataLst>
          </p:nvPr>
        </p:nvSpPr>
        <p:spPr bwMode="auto">
          <a:xfrm>
            <a:off x="6392863" y="1512889"/>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8" name="Freeform 521"/>
          <p:cNvSpPr>
            <a:spLocks/>
          </p:cNvSpPr>
          <p:nvPr>
            <p:custDataLst>
              <p:tags r:id="rId357"/>
            </p:custDataLst>
          </p:nvPr>
        </p:nvSpPr>
        <p:spPr bwMode="auto">
          <a:xfrm>
            <a:off x="6427788" y="1325563"/>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9" name="Freeform 522"/>
          <p:cNvSpPr>
            <a:spLocks/>
          </p:cNvSpPr>
          <p:nvPr>
            <p:custDataLst>
              <p:tags r:id="rId358"/>
            </p:custDataLst>
          </p:nvPr>
        </p:nvSpPr>
        <p:spPr bwMode="auto">
          <a:xfrm>
            <a:off x="6219825" y="1636713"/>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0" name="Freeform 523"/>
          <p:cNvSpPr>
            <a:spLocks/>
          </p:cNvSpPr>
          <p:nvPr>
            <p:custDataLst>
              <p:tags r:id="rId359"/>
            </p:custDataLst>
          </p:nvPr>
        </p:nvSpPr>
        <p:spPr bwMode="auto">
          <a:xfrm>
            <a:off x="8524875" y="1933575"/>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8011" name="Group 524"/>
          <p:cNvGrpSpPr>
            <a:grpSpLocks/>
          </p:cNvGrpSpPr>
          <p:nvPr>
            <p:custDataLst>
              <p:tags r:id="rId360"/>
            </p:custDataLst>
          </p:nvPr>
        </p:nvGrpSpPr>
        <p:grpSpPr bwMode="auto">
          <a:xfrm>
            <a:off x="7315201" y="1889126"/>
            <a:ext cx="671513" cy="384175"/>
            <a:chOff x="4115" y="1551"/>
            <a:chExt cx="504" cy="244"/>
          </a:xfrm>
        </p:grpSpPr>
        <p:sp>
          <p:nvSpPr>
            <p:cNvPr id="28045" name="Freeform 525"/>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a:solidFill>
                <a:srgbClr val="FFFFFF"/>
              </a:solidFill>
              <a:round/>
              <a:headEnd/>
              <a:tailEnd/>
            </a:ln>
          </p:spPr>
          <p:txBody>
            <a:bodyPr/>
            <a:lstStyle/>
            <a:p>
              <a:endParaRPr lang="en-AU"/>
            </a:p>
          </p:txBody>
        </p:sp>
        <p:sp>
          <p:nvSpPr>
            <p:cNvPr id="28046" name="Freeform 526"/>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a:solidFill>
                <a:srgbClr val="FFFFFF"/>
              </a:solidFill>
              <a:round/>
              <a:headEnd/>
              <a:tailEnd/>
            </a:ln>
          </p:spPr>
          <p:txBody>
            <a:bodyPr/>
            <a:lstStyle/>
            <a:p>
              <a:endParaRPr lang="en-AU"/>
            </a:p>
          </p:txBody>
        </p:sp>
      </p:grpSp>
      <p:sp>
        <p:nvSpPr>
          <p:cNvPr id="28012" name="Freeform 527"/>
          <p:cNvSpPr>
            <a:spLocks/>
          </p:cNvSpPr>
          <p:nvPr>
            <p:custDataLst>
              <p:tags r:id="rId361"/>
            </p:custDataLst>
          </p:nvPr>
        </p:nvSpPr>
        <p:spPr bwMode="auto">
          <a:xfrm>
            <a:off x="6346826" y="2638426"/>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3" name="Freeform 528"/>
          <p:cNvSpPr>
            <a:spLocks/>
          </p:cNvSpPr>
          <p:nvPr>
            <p:custDataLst>
              <p:tags r:id="rId362"/>
            </p:custDataLst>
          </p:nvPr>
        </p:nvSpPr>
        <p:spPr bwMode="auto">
          <a:xfrm>
            <a:off x="5846763" y="2182813"/>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4" name="Freeform 529"/>
          <p:cNvSpPr>
            <a:spLocks/>
          </p:cNvSpPr>
          <p:nvPr>
            <p:custDataLst>
              <p:tags r:id="rId363"/>
            </p:custDataLst>
          </p:nvPr>
        </p:nvSpPr>
        <p:spPr bwMode="auto">
          <a:xfrm>
            <a:off x="5586414" y="2395538"/>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5" name="Freeform 530"/>
          <p:cNvSpPr>
            <a:spLocks/>
          </p:cNvSpPr>
          <p:nvPr>
            <p:custDataLst>
              <p:tags r:id="rId364"/>
            </p:custDataLst>
          </p:nvPr>
        </p:nvSpPr>
        <p:spPr bwMode="auto">
          <a:xfrm>
            <a:off x="5178426" y="2741613"/>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6" name="Freeform 531"/>
          <p:cNvSpPr>
            <a:spLocks/>
          </p:cNvSpPr>
          <p:nvPr>
            <p:custDataLst>
              <p:tags r:id="rId365"/>
            </p:custDataLst>
          </p:nvPr>
        </p:nvSpPr>
        <p:spPr bwMode="auto">
          <a:xfrm>
            <a:off x="5119688" y="2757489"/>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7" name="Freeform 532"/>
          <p:cNvSpPr>
            <a:spLocks/>
          </p:cNvSpPr>
          <p:nvPr>
            <p:custDataLst>
              <p:tags r:id="rId366"/>
            </p:custDataLst>
          </p:nvPr>
        </p:nvSpPr>
        <p:spPr bwMode="auto">
          <a:xfrm>
            <a:off x="5094288" y="2751138"/>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8" name="Freeform 533"/>
          <p:cNvSpPr>
            <a:spLocks/>
          </p:cNvSpPr>
          <p:nvPr>
            <p:custDataLst>
              <p:tags r:id="rId367"/>
            </p:custDataLst>
          </p:nvPr>
        </p:nvSpPr>
        <p:spPr bwMode="auto">
          <a:xfrm>
            <a:off x="6383339" y="2492375"/>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9" name="Freeform 534"/>
          <p:cNvSpPr>
            <a:spLocks/>
          </p:cNvSpPr>
          <p:nvPr>
            <p:custDataLst>
              <p:tags r:id="rId368"/>
            </p:custDataLst>
          </p:nvPr>
        </p:nvSpPr>
        <p:spPr bwMode="auto">
          <a:xfrm>
            <a:off x="8459788" y="2860676"/>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8" name="Group 535"/>
          <p:cNvGrpSpPr>
            <a:grpSpLocks/>
          </p:cNvGrpSpPr>
          <p:nvPr>
            <p:custDataLst>
              <p:tags r:id="rId369"/>
            </p:custDataLst>
          </p:nvPr>
        </p:nvGrpSpPr>
        <p:grpSpPr bwMode="auto">
          <a:xfrm>
            <a:off x="6107113" y="2328864"/>
            <a:ext cx="482600" cy="201612"/>
            <a:chOff x="3289" y="1830"/>
            <a:chExt cx="363" cy="128"/>
          </a:xfrm>
          <a:solidFill>
            <a:srgbClr val="336699"/>
          </a:solidFill>
        </p:grpSpPr>
        <p:sp>
          <p:nvSpPr>
            <p:cNvPr id="2584"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5"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6"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7"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8"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8021" name="Freeform 541"/>
          <p:cNvSpPr>
            <a:spLocks/>
          </p:cNvSpPr>
          <p:nvPr>
            <p:custDataLst>
              <p:tags r:id="rId370"/>
            </p:custDataLst>
          </p:nvPr>
        </p:nvSpPr>
        <p:spPr bwMode="auto">
          <a:xfrm>
            <a:off x="4095751" y="3481389"/>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22" name="Freeform 542"/>
          <p:cNvSpPr>
            <a:spLocks/>
          </p:cNvSpPr>
          <p:nvPr>
            <p:custDataLst>
              <p:tags r:id="rId371"/>
            </p:custDataLst>
          </p:nvPr>
        </p:nvSpPr>
        <p:spPr bwMode="auto">
          <a:xfrm>
            <a:off x="8040688" y="2917825"/>
            <a:ext cx="207962"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3" name="Freeform 543"/>
          <p:cNvSpPr>
            <a:spLocks/>
          </p:cNvSpPr>
          <p:nvPr>
            <p:custDataLst>
              <p:tags r:id="rId372"/>
            </p:custDataLst>
          </p:nvPr>
        </p:nvSpPr>
        <p:spPr bwMode="auto">
          <a:xfrm>
            <a:off x="8128000" y="3603625"/>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4" name="Freeform 544"/>
          <p:cNvSpPr>
            <a:spLocks/>
          </p:cNvSpPr>
          <p:nvPr>
            <p:custDataLst>
              <p:tags r:id="rId373"/>
            </p:custDataLst>
          </p:nvPr>
        </p:nvSpPr>
        <p:spPr bwMode="auto">
          <a:xfrm>
            <a:off x="6819901" y="2862263"/>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5" name="Freeform 545"/>
          <p:cNvSpPr>
            <a:spLocks/>
          </p:cNvSpPr>
          <p:nvPr>
            <p:custDataLst>
              <p:tags r:id="rId374"/>
            </p:custDataLst>
          </p:nvPr>
        </p:nvSpPr>
        <p:spPr bwMode="auto">
          <a:xfrm>
            <a:off x="5546725" y="2916238"/>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6" name="Freeform 546"/>
          <p:cNvSpPr>
            <a:spLocks/>
          </p:cNvSpPr>
          <p:nvPr>
            <p:custDataLst>
              <p:tags r:id="rId375"/>
            </p:custDataLst>
          </p:nvPr>
        </p:nvSpPr>
        <p:spPr bwMode="auto">
          <a:xfrm>
            <a:off x="5216525" y="2533650"/>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8027" name="Freeform 547"/>
          <p:cNvSpPr>
            <a:spLocks/>
          </p:cNvSpPr>
          <p:nvPr>
            <p:custDataLst>
              <p:tags r:id="rId376"/>
            </p:custDataLst>
          </p:nvPr>
        </p:nvSpPr>
        <p:spPr bwMode="auto">
          <a:xfrm>
            <a:off x="5916614" y="1463676"/>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8" name="Freeform 548"/>
          <p:cNvSpPr>
            <a:spLocks/>
          </p:cNvSpPr>
          <p:nvPr>
            <p:custDataLst>
              <p:tags r:id="rId377"/>
            </p:custDataLst>
          </p:nvPr>
        </p:nvSpPr>
        <p:spPr bwMode="auto">
          <a:xfrm>
            <a:off x="6427788" y="1447801"/>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29" name="Freeform 549"/>
          <p:cNvSpPr>
            <a:spLocks/>
          </p:cNvSpPr>
          <p:nvPr>
            <p:custDataLst>
              <p:tags r:id="rId378"/>
            </p:custDataLst>
          </p:nvPr>
        </p:nvSpPr>
        <p:spPr bwMode="auto">
          <a:xfrm>
            <a:off x="6570663" y="14303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30" name="Freeform 550"/>
          <p:cNvSpPr>
            <a:spLocks/>
          </p:cNvSpPr>
          <p:nvPr>
            <p:custDataLst>
              <p:tags r:id="rId379"/>
            </p:custDataLst>
          </p:nvPr>
        </p:nvSpPr>
        <p:spPr bwMode="auto">
          <a:xfrm>
            <a:off x="6607176" y="14382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8031" name="Group 2"/>
          <p:cNvGrpSpPr>
            <a:grpSpLocks/>
          </p:cNvGrpSpPr>
          <p:nvPr/>
        </p:nvGrpSpPr>
        <p:grpSpPr bwMode="auto">
          <a:xfrm>
            <a:off x="1943100" y="5480050"/>
            <a:ext cx="1619250" cy="254000"/>
            <a:chOff x="418857" y="5656669"/>
            <a:chExt cx="1618355" cy="255325"/>
          </a:xfrm>
        </p:grpSpPr>
        <p:sp>
          <p:nvSpPr>
            <p:cNvPr id="2" name="Rectangle 1"/>
            <p:cNvSpPr/>
            <p:nvPr/>
          </p:nvSpPr>
          <p:spPr>
            <a:xfrm>
              <a:off x="418857" y="5747629"/>
              <a:ext cx="82504" cy="71810"/>
            </a:xfrm>
            <a:prstGeom prst="rect">
              <a:avLst/>
            </a:prstGeom>
            <a:solidFill>
              <a:srgbClr val="336699"/>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a:defRPr/>
              </a:pPr>
              <a:endParaRPr lang="en-GB" sz="1000">
                <a:solidFill>
                  <a:schemeClr val="tx1"/>
                </a:solidFill>
                <a:latin typeface="Arial" pitchFamily="34" charset="0"/>
                <a:cs typeface="Arial" pitchFamily="34" charset="0"/>
              </a:endParaRPr>
            </a:p>
          </p:txBody>
        </p:sp>
        <p:sp>
          <p:nvSpPr>
            <p:cNvPr id="45440" name="TextBox 2"/>
            <p:cNvSpPr txBox="1">
              <a:spLocks noChangeArrowheads="1"/>
            </p:cNvSpPr>
            <p:nvPr/>
          </p:nvSpPr>
          <p:spPr bwMode="auto">
            <a:xfrm>
              <a:off x="502948" y="5656669"/>
              <a:ext cx="1534264" cy="255325"/>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hangingPunct="1">
                <a:defRPr/>
              </a:pPr>
              <a:r>
                <a:rPr lang="en-GB" sz="1050" b="0">
                  <a:solidFill>
                    <a:schemeClr val="tx1"/>
                  </a:solidFill>
                  <a:latin typeface="Arial" pitchFamily="34" charset="0"/>
                  <a:cs typeface="Arial" pitchFamily="34" charset="0"/>
                </a:rPr>
                <a:t>ILAC MRA Signatories</a:t>
              </a:r>
            </a:p>
          </p:txBody>
        </p:sp>
      </p:grpSp>
      <p:grpSp>
        <p:nvGrpSpPr>
          <p:cNvPr id="28032" name="Group 3"/>
          <p:cNvGrpSpPr>
            <a:grpSpLocks/>
          </p:cNvGrpSpPr>
          <p:nvPr/>
        </p:nvGrpSpPr>
        <p:grpSpPr bwMode="auto">
          <a:xfrm>
            <a:off x="1943100" y="5719763"/>
            <a:ext cx="1790700" cy="254000"/>
            <a:chOff x="418857" y="5808116"/>
            <a:chExt cx="1789195" cy="253730"/>
          </a:xfrm>
        </p:grpSpPr>
        <p:sp>
          <p:nvSpPr>
            <p:cNvPr id="556" name="Rectangle 555"/>
            <p:cNvSpPr/>
            <p:nvPr/>
          </p:nvSpPr>
          <p:spPr>
            <a:xfrm>
              <a:off x="418857" y="5898507"/>
              <a:ext cx="82481" cy="72947"/>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a:defRPr/>
              </a:pPr>
              <a:endParaRPr lang="en-GB" sz="1000">
                <a:solidFill>
                  <a:schemeClr val="tx1"/>
                </a:solidFill>
                <a:latin typeface="Arial" pitchFamily="34" charset="0"/>
                <a:cs typeface="Arial" pitchFamily="34" charset="0"/>
              </a:endParaRPr>
            </a:p>
          </p:txBody>
        </p:sp>
        <p:sp>
          <p:nvSpPr>
            <p:cNvPr id="45442" name="TextBox 556"/>
            <p:cNvSpPr txBox="1">
              <a:spLocks noChangeArrowheads="1"/>
            </p:cNvSpPr>
            <p:nvPr/>
          </p:nvSpPr>
          <p:spPr bwMode="auto">
            <a:xfrm>
              <a:off x="502924" y="5808116"/>
              <a:ext cx="1705128" cy="253730"/>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hangingPunct="1">
                <a:defRPr/>
              </a:pPr>
              <a:r>
                <a:rPr lang="en-GB" sz="1050" b="0">
                  <a:solidFill>
                    <a:schemeClr val="tx1"/>
                  </a:solidFill>
                  <a:latin typeface="Arial" pitchFamily="34" charset="0"/>
                  <a:cs typeface="Arial" pitchFamily="34" charset="0"/>
                </a:rPr>
                <a:t>ILAC Associate Members</a:t>
              </a:r>
            </a:p>
          </p:txBody>
        </p:sp>
      </p:grpSp>
      <p:sp>
        <p:nvSpPr>
          <p:cNvPr id="28038" name="Freeform 41"/>
          <p:cNvSpPr>
            <a:spLocks/>
          </p:cNvSpPr>
          <p:nvPr>
            <p:custDataLst>
              <p:tags r:id="rId380"/>
            </p:custDataLst>
          </p:nvPr>
        </p:nvSpPr>
        <p:spPr bwMode="auto">
          <a:xfrm>
            <a:off x="4008438" y="3311525"/>
            <a:ext cx="44450" cy="46038"/>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4" name="Google Shape;1340;p23">
            <a:extLst>
              <a:ext uri="{FF2B5EF4-FFF2-40B4-BE49-F238E27FC236}">
                <a16:creationId xmlns:a16="http://schemas.microsoft.com/office/drawing/2014/main" id="{64BF9795-6E6E-E79A-1160-66D28354C966}"/>
              </a:ext>
            </a:extLst>
          </p:cNvPr>
          <p:cNvSpPr txBox="1"/>
          <p:nvPr/>
        </p:nvSpPr>
        <p:spPr>
          <a:xfrm>
            <a:off x="2148115" y="482600"/>
            <a:ext cx="7895772" cy="52318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dirty="0">
                <a:solidFill>
                  <a:schemeClr val="dk1"/>
                </a:solidFill>
                <a:latin typeface="Montserrat"/>
                <a:ea typeface="Montserrat"/>
                <a:cs typeface="Montserrat"/>
                <a:sym typeface="Montserrat"/>
              </a:rPr>
              <a:t>Coverage of the ILAC </a:t>
            </a:r>
            <a:r>
              <a:rPr lang="en-US" sz="2800" b="1" i="0" u="none" strike="noStrike" cap="none">
                <a:solidFill>
                  <a:schemeClr val="dk1"/>
                </a:solidFill>
                <a:latin typeface="Montserrat"/>
                <a:ea typeface="Montserrat"/>
                <a:cs typeface="Montserrat"/>
                <a:sym typeface="Montserrat"/>
              </a:rPr>
              <a:t>MRA </a:t>
            </a:r>
            <a:r>
              <a:rPr lang="en-US" sz="1400" b="1" i="0" u="none" strike="noStrike" cap="none">
                <a:solidFill>
                  <a:schemeClr val="dk1"/>
                </a:solidFill>
                <a:latin typeface="Montserrat"/>
                <a:ea typeface="Montserrat"/>
                <a:cs typeface="Montserrat"/>
                <a:sym typeface="Montserrat"/>
              </a:rPr>
              <a:t>(June 2025)</a:t>
            </a:r>
            <a:endParaRPr sz="2800" b="1" i="0" u="none" strike="noStrike" cap="none" dirty="0">
              <a:solidFill>
                <a:schemeClr val="dk1"/>
              </a:solidFill>
              <a:latin typeface="Montserrat"/>
              <a:ea typeface="Montserrat"/>
              <a:cs typeface="Montserrat"/>
              <a:sym typeface="Montserrat"/>
            </a:endParaRPr>
          </a:p>
        </p:txBody>
      </p:sp>
    </p:spTree>
    <p:extLst>
      <p:ext uri="{BB962C8B-B14F-4D97-AF65-F5344CB8AC3E}">
        <p14:creationId xmlns:p14="http://schemas.microsoft.com/office/powerpoint/2010/main" val="15740442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347"/>
        <p:cNvGrpSpPr/>
        <p:nvPr/>
      </p:nvGrpSpPr>
      <p:grpSpPr>
        <a:xfrm>
          <a:off x="0" y="0"/>
          <a:ext cx="0" cy="0"/>
          <a:chOff x="0" y="0"/>
          <a:chExt cx="0" cy="0"/>
        </a:xfrm>
      </p:grpSpPr>
      <p:sp>
        <p:nvSpPr>
          <p:cNvPr id="1348" name="Google Shape;1348;p24"/>
          <p:cNvSpPr/>
          <p:nvPr/>
        </p:nvSpPr>
        <p:spPr>
          <a:xfrm>
            <a:off x="6967130" y="1040259"/>
            <a:ext cx="4766988" cy="5127038"/>
          </a:xfrm>
          <a:custGeom>
            <a:avLst/>
            <a:gdLst/>
            <a:ahLst/>
            <a:cxnLst/>
            <a:rect l="l" t="t" r="r" b="b"/>
            <a:pathLst>
              <a:path w="4653069" h="5292178" extrusionOk="0">
                <a:moveTo>
                  <a:pt x="2595912" y="682"/>
                </a:moveTo>
                <a:cubicBezTo>
                  <a:pt x="2754269" y="3440"/>
                  <a:pt x="2913177" y="14472"/>
                  <a:pt x="3072085" y="32123"/>
                </a:cubicBezTo>
                <a:cubicBezTo>
                  <a:pt x="3566466" y="67425"/>
                  <a:pt x="4096160" y="173332"/>
                  <a:pt x="4413976" y="561658"/>
                </a:cubicBezTo>
                <a:cubicBezTo>
                  <a:pt x="4767106" y="1020590"/>
                  <a:pt x="4696480" y="1726637"/>
                  <a:pt x="4413976" y="2256173"/>
                </a:cubicBezTo>
                <a:cubicBezTo>
                  <a:pt x="4166786" y="2785709"/>
                  <a:pt x="3778344" y="3244640"/>
                  <a:pt x="3531153" y="3809478"/>
                </a:cubicBezTo>
                <a:cubicBezTo>
                  <a:pt x="3389902" y="4162502"/>
                  <a:pt x="3319276" y="4550828"/>
                  <a:pt x="3107398" y="4868550"/>
                </a:cubicBezTo>
                <a:cubicBezTo>
                  <a:pt x="2718956" y="5292178"/>
                  <a:pt x="2048010" y="5398085"/>
                  <a:pt x="1518316" y="5186271"/>
                </a:cubicBezTo>
                <a:cubicBezTo>
                  <a:pt x="988622" y="4974457"/>
                  <a:pt x="600179" y="4515526"/>
                  <a:pt x="352989" y="4021292"/>
                </a:cubicBezTo>
                <a:cubicBezTo>
                  <a:pt x="-212018" y="2750406"/>
                  <a:pt x="-212018" y="879380"/>
                  <a:pt x="1200499" y="243937"/>
                </a:cubicBezTo>
                <a:cubicBezTo>
                  <a:pt x="1650739" y="58600"/>
                  <a:pt x="2120843" y="-7592"/>
                  <a:pt x="2595912" y="68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349" name="Google Shape;1349;p24"/>
          <p:cNvSpPr/>
          <p:nvPr/>
        </p:nvSpPr>
        <p:spPr>
          <a:xfrm>
            <a:off x="6898984" y="834797"/>
            <a:ext cx="4766988" cy="5127038"/>
          </a:xfrm>
          <a:custGeom>
            <a:avLst/>
            <a:gdLst/>
            <a:ahLst/>
            <a:cxnLst/>
            <a:rect l="l" t="t" r="r" b="b"/>
            <a:pathLst>
              <a:path w="4653069" h="5292178" extrusionOk="0">
                <a:moveTo>
                  <a:pt x="2595912" y="682"/>
                </a:moveTo>
                <a:cubicBezTo>
                  <a:pt x="2754269" y="3440"/>
                  <a:pt x="2913177" y="14472"/>
                  <a:pt x="3072085" y="32123"/>
                </a:cubicBezTo>
                <a:cubicBezTo>
                  <a:pt x="3566466" y="67425"/>
                  <a:pt x="4096160" y="173332"/>
                  <a:pt x="4413976" y="561658"/>
                </a:cubicBezTo>
                <a:cubicBezTo>
                  <a:pt x="4767106" y="1020590"/>
                  <a:pt x="4696480" y="1726637"/>
                  <a:pt x="4413976" y="2256173"/>
                </a:cubicBezTo>
                <a:cubicBezTo>
                  <a:pt x="4166786" y="2785709"/>
                  <a:pt x="3778344" y="3244640"/>
                  <a:pt x="3531153" y="3809478"/>
                </a:cubicBezTo>
                <a:cubicBezTo>
                  <a:pt x="3389902" y="4162502"/>
                  <a:pt x="3319276" y="4550828"/>
                  <a:pt x="3107398" y="4868550"/>
                </a:cubicBezTo>
                <a:cubicBezTo>
                  <a:pt x="2718956" y="5292178"/>
                  <a:pt x="2048010" y="5398085"/>
                  <a:pt x="1518316" y="5186271"/>
                </a:cubicBezTo>
                <a:cubicBezTo>
                  <a:pt x="988622" y="4974457"/>
                  <a:pt x="600179" y="4515526"/>
                  <a:pt x="352989" y="4021292"/>
                </a:cubicBezTo>
                <a:cubicBezTo>
                  <a:pt x="-212018" y="2750406"/>
                  <a:pt x="-212018" y="879380"/>
                  <a:pt x="1200499" y="243937"/>
                </a:cubicBezTo>
                <a:cubicBezTo>
                  <a:pt x="1650739" y="58600"/>
                  <a:pt x="2120843" y="-7592"/>
                  <a:pt x="2595912" y="68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350" name="Google Shape;1350;p24"/>
          <p:cNvSpPr txBox="1"/>
          <p:nvPr/>
        </p:nvSpPr>
        <p:spPr>
          <a:xfrm>
            <a:off x="380999" y="893354"/>
            <a:ext cx="8937171" cy="523220"/>
          </a:xfrm>
          <a:prstGeom prst="rect">
            <a:avLst/>
          </a:prstGeom>
          <a:noFill/>
          <a:ln>
            <a:noFill/>
          </a:ln>
        </p:spPr>
        <p:txBody>
          <a:bodyPr spcFirstLastPara="1" wrap="square" lIns="91425" tIns="45700" rIns="91425" bIns="45700" anchor="t" anchorCtr="0">
            <a:spAutoFit/>
          </a:bodyPr>
          <a:lstStyle/>
          <a:p>
            <a:pPr>
              <a:buSzPts val="2800"/>
            </a:pPr>
            <a:r>
              <a:rPr lang="en-US" sz="2800" b="1" i="0" u="none" strike="noStrike" cap="none" dirty="0">
                <a:solidFill>
                  <a:schemeClr val="dk1"/>
                </a:solidFill>
                <a:latin typeface="Montserrat"/>
                <a:ea typeface="Montserrat"/>
                <a:cs typeface="Montserrat"/>
                <a:sym typeface="Montserrat"/>
              </a:rPr>
              <a:t>STATUS OF THE ILAC MRA </a:t>
            </a:r>
            <a:r>
              <a:rPr lang="en-US" sz="1400" b="1" i="0" u="none" strike="noStrike" cap="none" dirty="0">
                <a:solidFill>
                  <a:schemeClr val="dk1"/>
                </a:solidFill>
                <a:latin typeface="Montserrat"/>
                <a:ea typeface="Montserrat"/>
                <a:cs typeface="Montserrat"/>
                <a:sym typeface="Montserrat"/>
              </a:rPr>
              <a:t>(</a:t>
            </a:r>
            <a:r>
              <a:rPr lang="en-US" b="1" dirty="0">
                <a:solidFill>
                  <a:schemeClr val="dk1"/>
                </a:solidFill>
                <a:latin typeface="Montserrat"/>
                <a:ea typeface="Montserrat"/>
                <a:cs typeface="Montserrat"/>
                <a:sym typeface="Montserrat"/>
              </a:rPr>
              <a:t>June 2025</a:t>
            </a:r>
            <a:r>
              <a:rPr lang="en-US" sz="1400" b="1" i="0" u="none" strike="noStrike" cap="none" dirty="0">
                <a:solidFill>
                  <a:schemeClr val="dk1"/>
                </a:solidFill>
                <a:latin typeface="Montserrat"/>
                <a:ea typeface="Montserrat"/>
                <a:cs typeface="Montserrat"/>
                <a:sym typeface="Montserrat"/>
              </a:rPr>
              <a:t>)</a:t>
            </a:r>
            <a:endParaRPr sz="2800" b="1" i="0" u="none" strike="noStrike" cap="none" dirty="0">
              <a:solidFill>
                <a:schemeClr val="dk1"/>
              </a:solidFill>
              <a:latin typeface="Montserrat"/>
              <a:ea typeface="Montserrat"/>
              <a:cs typeface="Montserrat"/>
              <a:sym typeface="Montserrat"/>
            </a:endParaRPr>
          </a:p>
        </p:txBody>
      </p:sp>
      <p:cxnSp>
        <p:nvCxnSpPr>
          <p:cNvPr id="1351" name="Google Shape;1351;p24"/>
          <p:cNvCxnSpPr/>
          <p:nvPr/>
        </p:nvCxnSpPr>
        <p:spPr>
          <a:xfrm>
            <a:off x="501650" y="1507741"/>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352" name="Google Shape;1352;p24"/>
          <p:cNvSpPr txBox="1"/>
          <p:nvPr/>
        </p:nvSpPr>
        <p:spPr>
          <a:xfrm>
            <a:off x="369277" y="1706431"/>
            <a:ext cx="5726723" cy="3970277"/>
          </a:xfrm>
          <a:prstGeom prst="rect">
            <a:avLst/>
          </a:prstGeom>
          <a:noFill/>
          <a:ln>
            <a:noFill/>
          </a:ln>
        </p:spPr>
        <p:txBody>
          <a:bodyPr spcFirstLastPara="1" wrap="square" lIns="91425" tIns="45700" rIns="91425" bIns="45700" anchor="t" anchorCtr="0">
            <a:spAutoFit/>
          </a:bodyPr>
          <a:lstStyle/>
          <a:p>
            <a:pPr marL="171450" indent="-171450">
              <a:lnSpc>
                <a:spcPct val="150000"/>
              </a:lnSpc>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The ILAC network of members includes </a:t>
            </a:r>
            <a:r>
              <a:rPr lang="en-US" dirty="0">
                <a:solidFill>
                  <a:schemeClr val="dk1"/>
                </a:solidFill>
                <a:latin typeface="Poppins"/>
                <a:ea typeface="Poppins"/>
                <a:cs typeface="Poppins"/>
                <a:sym typeface="Poppins"/>
              </a:rPr>
              <a:t>162</a:t>
            </a:r>
            <a:r>
              <a:rPr lang="en-US" sz="1400" b="0" i="0" u="none" strike="noStrike" cap="none" dirty="0">
                <a:solidFill>
                  <a:schemeClr val="dk1"/>
                </a:solidFill>
                <a:latin typeface="Poppins"/>
                <a:ea typeface="Poppins"/>
                <a:cs typeface="Poppins"/>
                <a:sym typeface="Poppins"/>
              </a:rPr>
              <a:t> bodies from </a:t>
            </a:r>
            <a:r>
              <a:rPr lang="en-US" dirty="0">
                <a:solidFill>
                  <a:schemeClr val="dk1"/>
                </a:solidFill>
                <a:latin typeface="Poppins"/>
                <a:ea typeface="Poppins"/>
                <a:cs typeface="Poppins"/>
                <a:sym typeface="Poppins"/>
              </a:rPr>
              <a:t>135 </a:t>
            </a:r>
            <a:r>
              <a:rPr lang="en-US" sz="1400" b="0" i="0" u="none" strike="noStrike" cap="none" dirty="0">
                <a:solidFill>
                  <a:schemeClr val="dk1"/>
                </a:solidFill>
                <a:latin typeface="Poppins"/>
                <a:ea typeface="Poppins"/>
                <a:cs typeface="Poppins"/>
                <a:sym typeface="Poppins"/>
              </a:rPr>
              <a:t>different economies (</a:t>
            </a:r>
            <a:r>
              <a:rPr lang="en-US" dirty="0">
                <a:solidFill>
                  <a:schemeClr val="dk1"/>
                </a:solidFill>
                <a:latin typeface="Poppins"/>
                <a:ea typeface="Poppins"/>
                <a:cs typeface="Poppins"/>
                <a:sym typeface="Poppins"/>
              </a:rPr>
              <a:t>118</a:t>
            </a:r>
            <a:r>
              <a:rPr lang="en-US" sz="1400" b="0" i="0" u="none" strike="noStrike" cap="none" dirty="0">
                <a:solidFill>
                  <a:schemeClr val="dk1"/>
                </a:solidFill>
                <a:latin typeface="Poppins"/>
                <a:ea typeface="Poppins"/>
                <a:cs typeface="Poppins"/>
                <a:sym typeface="Poppins"/>
              </a:rPr>
              <a:t> Full Members/MRA Signatories, </a:t>
            </a:r>
            <a:r>
              <a:rPr lang="en-US" dirty="0">
                <a:solidFill>
                  <a:schemeClr val="dk1"/>
                </a:solidFill>
                <a:latin typeface="Poppins"/>
                <a:ea typeface="Poppins"/>
                <a:cs typeface="Poppins"/>
                <a:sym typeface="Poppins"/>
              </a:rPr>
              <a:t>17 </a:t>
            </a:r>
            <a:r>
              <a:rPr lang="en-US" sz="1400" b="0" i="0" u="none" strike="noStrike" cap="none" dirty="0">
                <a:solidFill>
                  <a:schemeClr val="dk1"/>
                </a:solidFill>
                <a:latin typeface="Poppins"/>
                <a:ea typeface="Poppins"/>
                <a:cs typeface="Poppins"/>
                <a:sym typeface="Poppins"/>
              </a:rPr>
              <a:t>Associates, </a:t>
            </a:r>
            <a:r>
              <a:rPr lang="en-US" dirty="0">
                <a:solidFill>
                  <a:schemeClr val="dk1"/>
                </a:solidFill>
                <a:latin typeface="Poppins"/>
                <a:ea typeface="Poppins"/>
                <a:cs typeface="Poppins"/>
                <a:sym typeface="Poppins"/>
              </a:rPr>
              <a:t>21</a:t>
            </a:r>
            <a:r>
              <a:rPr lang="en-US" sz="1400" b="0" i="0" u="none" strike="noStrike" cap="none" dirty="0">
                <a:solidFill>
                  <a:schemeClr val="dk1"/>
                </a:solidFill>
                <a:latin typeface="Poppins"/>
                <a:ea typeface="Poppins"/>
                <a:cs typeface="Poppins"/>
                <a:sym typeface="Poppins"/>
              </a:rPr>
              <a:t> stakeholders, 6 Regional Cooperation Bodies)</a:t>
            </a:r>
            <a:endParaRPr sz="1400" b="0" i="0" u="none" strike="noStrike" cap="none" dirty="0">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dirty="0">
                <a:solidFill>
                  <a:schemeClr val="dk1"/>
                </a:solidFill>
                <a:latin typeface="Poppins"/>
                <a:ea typeface="Poppins"/>
                <a:cs typeface="Poppins"/>
                <a:sym typeface="Poppins"/>
              </a:rPr>
              <a:t>118</a:t>
            </a:r>
            <a:r>
              <a:rPr lang="en-US" sz="1400" b="0" i="0" u="none" strike="noStrike" cap="none" dirty="0">
                <a:solidFill>
                  <a:schemeClr val="dk1"/>
                </a:solidFill>
                <a:latin typeface="Poppins"/>
                <a:ea typeface="Poppins"/>
                <a:cs typeface="Poppins"/>
                <a:sym typeface="Poppins"/>
              </a:rPr>
              <a:t> ILAC MRA Signatories representing </a:t>
            </a:r>
            <a:r>
              <a:rPr lang="en-US" dirty="0">
                <a:solidFill>
                  <a:schemeClr val="dk1"/>
                </a:solidFill>
                <a:latin typeface="Poppins"/>
                <a:ea typeface="Poppins"/>
                <a:cs typeface="Poppins"/>
                <a:sym typeface="Poppins"/>
              </a:rPr>
              <a:t>119</a:t>
            </a:r>
            <a:r>
              <a:rPr lang="en-US" sz="1400" b="0" i="0" u="none" strike="noStrike" cap="none" dirty="0">
                <a:solidFill>
                  <a:schemeClr val="dk1"/>
                </a:solidFill>
                <a:latin typeface="Poppins"/>
                <a:ea typeface="Poppins"/>
                <a:cs typeface="Poppins"/>
                <a:sym typeface="Poppins"/>
              </a:rPr>
              <a:t> economies</a:t>
            </a:r>
            <a:endParaRPr sz="1400" b="0" i="0" u="none" strike="noStrike" cap="none" dirty="0">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ILAC MRA covers testing, calibration, inspection, proficiency testing providers and reference material producers</a:t>
            </a:r>
            <a:endParaRPr sz="1400" b="0" i="0" u="none" strike="noStrike" cap="none" dirty="0">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Signatories represent about 95% of Global GDP</a:t>
            </a:r>
            <a:endParaRPr sz="1400" b="0" i="0" u="none" strike="noStrike" cap="none" dirty="0">
              <a:solidFill>
                <a:schemeClr val="dk1"/>
              </a:solidFill>
              <a:latin typeface="Arial"/>
              <a:ea typeface="Arial"/>
              <a:cs typeface="Arial"/>
              <a:sym typeface="Arial"/>
            </a:endParaRPr>
          </a:p>
          <a:p>
            <a:pPr marL="171450" indent="-171450">
              <a:lnSpc>
                <a:spcPct val="150000"/>
              </a:lnSpc>
              <a:buClr>
                <a:schemeClr val="accent1"/>
              </a:buClr>
              <a:buSzPts val="1680"/>
              <a:buFont typeface="Arial"/>
              <a:buChar char="•"/>
            </a:pPr>
            <a:r>
              <a:rPr lang="en-US" dirty="0">
                <a:solidFill>
                  <a:schemeClr val="dk1"/>
                </a:solidFill>
                <a:latin typeface="Poppins"/>
                <a:ea typeface="Poppins"/>
                <a:cs typeface="Poppins"/>
                <a:sym typeface="Poppins"/>
              </a:rPr>
              <a:t>Over 97,000</a:t>
            </a:r>
            <a:r>
              <a:rPr lang="en-US" sz="1400" b="0" i="0" u="none" strike="noStrike" cap="none" dirty="0">
                <a:solidFill>
                  <a:schemeClr val="dk1"/>
                </a:solidFill>
                <a:latin typeface="Poppins"/>
                <a:ea typeface="Poppins"/>
                <a:cs typeface="Poppins"/>
                <a:sym typeface="Poppins"/>
              </a:rPr>
              <a:t> accredited laboratories</a:t>
            </a:r>
            <a:endParaRPr sz="1400" b="0" i="0" u="none" strike="noStrike" cap="none" dirty="0">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Over </a:t>
            </a:r>
            <a:r>
              <a:rPr lang="en-US">
                <a:solidFill>
                  <a:schemeClr val="dk1"/>
                </a:solidFill>
                <a:latin typeface="Poppins"/>
                <a:ea typeface="Poppins"/>
                <a:cs typeface="Poppins"/>
                <a:sym typeface="Poppins"/>
              </a:rPr>
              <a:t>14,000</a:t>
            </a:r>
            <a:r>
              <a:rPr lang="en-US" sz="1400" b="0" i="0" u="none" strike="noStrike" cap="none">
                <a:solidFill>
                  <a:schemeClr val="dk1"/>
                </a:solidFill>
                <a:latin typeface="Poppins"/>
                <a:ea typeface="Poppins"/>
                <a:cs typeface="Poppins"/>
                <a:sym typeface="Poppins"/>
              </a:rPr>
              <a:t> </a:t>
            </a:r>
            <a:r>
              <a:rPr lang="en-US" sz="1400" b="0" i="0" u="none" strike="noStrike" cap="none" dirty="0">
                <a:solidFill>
                  <a:schemeClr val="dk1"/>
                </a:solidFill>
                <a:latin typeface="Poppins"/>
                <a:ea typeface="Poppins"/>
                <a:cs typeface="Poppins"/>
                <a:sym typeface="Poppins"/>
              </a:rPr>
              <a:t>accredited inspection bodies</a:t>
            </a:r>
            <a:endParaRPr sz="1400" b="0" i="0" u="none" strike="noStrike" cap="none" dirty="0">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Over </a:t>
            </a:r>
            <a:r>
              <a:rPr lang="en-US" dirty="0">
                <a:solidFill>
                  <a:schemeClr val="dk1"/>
                </a:solidFill>
                <a:latin typeface="Poppins"/>
                <a:ea typeface="Poppins"/>
                <a:cs typeface="Poppins"/>
                <a:sym typeface="Poppins"/>
              </a:rPr>
              <a:t>800</a:t>
            </a:r>
            <a:r>
              <a:rPr lang="en-US" sz="1400" b="0" i="0" u="none" strike="noStrike" cap="none" dirty="0">
                <a:solidFill>
                  <a:schemeClr val="dk1"/>
                </a:solidFill>
                <a:latin typeface="Poppins"/>
                <a:ea typeface="Poppins"/>
                <a:cs typeface="Poppins"/>
                <a:sym typeface="Poppins"/>
              </a:rPr>
              <a:t> accredited proficiency testing providers</a:t>
            </a:r>
            <a:endParaRPr sz="1400" b="0" i="0" u="none" strike="noStrike" cap="none" dirty="0">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Over </a:t>
            </a:r>
            <a:r>
              <a:rPr lang="en-US" dirty="0">
                <a:solidFill>
                  <a:schemeClr val="dk1"/>
                </a:solidFill>
                <a:latin typeface="Poppins"/>
                <a:ea typeface="Poppins"/>
                <a:cs typeface="Poppins"/>
                <a:sym typeface="Poppins"/>
              </a:rPr>
              <a:t>300</a:t>
            </a:r>
            <a:r>
              <a:rPr lang="en-US" sz="1400" b="0" i="0" u="none" strike="noStrike" cap="none" dirty="0">
                <a:solidFill>
                  <a:schemeClr val="dk1"/>
                </a:solidFill>
                <a:latin typeface="Poppins"/>
                <a:ea typeface="Poppins"/>
                <a:cs typeface="Poppins"/>
                <a:sym typeface="Poppins"/>
              </a:rPr>
              <a:t> reference materials producers</a:t>
            </a:r>
            <a:endParaRPr sz="1400" b="0" i="0" u="none" strike="noStrike" cap="none" dirty="0">
              <a:solidFill>
                <a:schemeClr val="dk1"/>
              </a:solidFill>
              <a:latin typeface="Arial"/>
              <a:ea typeface="Arial"/>
              <a:cs typeface="Arial"/>
              <a:sym typeface="Arial"/>
            </a:endParaRPr>
          </a:p>
        </p:txBody>
      </p:sp>
      <p:pic>
        <p:nvPicPr>
          <p:cNvPr id="1353" name="Google Shape;1353;p24"/>
          <p:cNvPicPr preferRelativeResize="0">
            <a:picLocks noGrp="1"/>
          </p:cNvPicPr>
          <p:nvPr>
            <p:ph type="pic" idx="2"/>
          </p:nvPr>
        </p:nvPicPr>
        <p:blipFill rotWithShape="1">
          <a:blip r:embed="rId3">
            <a:alphaModFix/>
          </a:blip>
          <a:srcRect l="18077" r="18076"/>
          <a:stretch/>
        </p:blipFill>
        <p:spPr>
          <a:xfrm>
            <a:off x="7020591" y="936940"/>
            <a:ext cx="4929863" cy="5127626"/>
          </a:xfrm>
          <a:prstGeom prst="rect">
            <a:avLst/>
          </a:prstGeom>
          <a:blipFill rotWithShape="1">
            <a:blip r:embed="rId4">
              <a:alphaModFix/>
            </a:blip>
            <a:tile tx="0" ty="0" sx="100000" sy="100000" flip="none" algn="tl"/>
          </a:blip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357"/>
        <p:cNvGrpSpPr/>
        <p:nvPr/>
      </p:nvGrpSpPr>
      <p:grpSpPr>
        <a:xfrm>
          <a:off x="0" y="0"/>
          <a:ext cx="0" cy="0"/>
          <a:chOff x="0" y="0"/>
          <a:chExt cx="0" cy="0"/>
        </a:xfrm>
      </p:grpSpPr>
      <p:sp>
        <p:nvSpPr>
          <p:cNvPr id="1358" name="Google Shape;1358;p25"/>
          <p:cNvSpPr txBox="1"/>
          <p:nvPr/>
        </p:nvSpPr>
        <p:spPr>
          <a:xfrm>
            <a:off x="1627415" y="485390"/>
            <a:ext cx="893717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 ILAC TIMELINE</a:t>
            </a:r>
            <a:endParaRPr sz="1400" b="0" i="0" u="none" strike="noStrike" cap="none">
              <a:solidFill>
                <a:srgbClr val="000000"/>
              </a:solidFill>
              <a:latin typeface="Arial"/>
              <a:ea typeface="Arial"/>
              <a:cs typeface="Arial"/>
              <a:sym typeface="Arial"/>
            </a:endParaRPr>
          </a:p>
        </p:txBody>
      </p:sp>
      <p:cxnSp>
        <p:nvCxnSpPr>
          <p:cNvPr id="1359" name="Google Shape;1359;p25"/>
          <p:cNvCxnSpPr/>
          <p:nvPr/>
        </p:nvCxnSpPr>
        <p:spPr>
          <a:xfrm>
            <a:off x="5529618" y="109977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360" name="Google Shape;1360;p25"/>
          <p:cNvSpPr/>
          <p:nvPr/>
        </p:nvSpPr>
        <p:spPr>
          <a:xfrm>
            <a:off x="1105541" y="3425714"/>
            <a:ext cx="10057661" cy="4694"/>
          </a:xfrm>
          <a:custGeom>
            <a:avLst/>
            <a:gdLst/>
            <a:ahLst/>
            <a:cxnLst/>
            <a:rect l="l" t="t" r="r" b="b"/>
            <a:pathLst>
              <a:path w="10202513" h="4762" extrusionOk="0">
                <a:moveTo>
                  <a:pt x="0" y="0"/>
                </a:moveTo>
                <a:lnTo>
                  <a:pt x="10202513" y="0"/>
                </a:lnTo>
                <a:lnTo>
                  <a:pt x="10202513" y="4762"/>
                </a:lnTo>
                <a:lnTo>
                  <a:pt x="0" y="4762"/>
                </a:ln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1" name="Google Shape;1361;p25"/>
          <p:cNvSpPr/>
          <p:nvPr/>
        </p:nvSpPr>
        <p:spPr>
          <a:xfrm>
            <a:off x="1078873" y="3401394"/>
            <a:ext cx="53334" cy="53334"/>
          </a:xfrm>
          <a:custGeom>
            <a:avLst/>
            <a:gdLst/>
            <a:ahLst/>
            <a:cxnLst/>
            <a:rect l="l" t="t" r="r" b="b"/>
            <a:pathLst>
              <a:path w="54102" h="54102" extrusionOk="0">
                <a:moveTo>
                  <a:pt x="54054" y="26671"/>
                </a:moveTo>
                <a:cubicBezTo>
                  <a:pt x="54107" y="41607"/>
                  <a:pt x="42039" y="53760"/>
                  <a:pt x="27099" y="53818"/>
                </a:cubicBezTo>
                <a:cubicBezTo>
                  <a:pt x="12159" y="53865"/>
                  <a:pt x="5" y="41797"/>
                  <a:pt x="-48" y="26862"/>
                </a:cubicBezTo>
                <a:cubicBezTo>
                  <a:pt x="-100" y="11927"/>
                  <a:pt x="11969" y="-227"/>
                  <a:pt x="26908" y="-284"/>
                </a:cubicBezTo>
                <a:cubicBezTo>
                  <a:pt x="26972" y="-284"/>
                  <a:pt x="27035" y="-284"/>
                  <a:pt x="27099" y="-284"/>
                </a:cubicBezTo>
                <a:cubicBezTo>
                  <a:pt x="41964" y="-227"/>
                  <a:pt x="54002"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2" name="Google Shape;1362;p25"/>
          <p:cNvSpPr/>
          <p:nvPr/>
        </p:nvSpPr>
        <p:spPr>
          <a:xfrm>
            <a:off x="1076995" y="3398960"/>
            <a:ext cx="58029" cy="58021"/>
          </a:xfrm>
          <a:custGeom>
            <a:avLst/>
            <a:gdLst/>
            <a:ahLst/>
            <a:cxnLst/>
            <a:rect l="l" t="t" r="r" b="b"/>
            <a:pathLst>
              <a:path w="58864" h="58857" extrusionOk="0">
                <a:moveTo>
                  <a:pt x="29003" y="58573"/>
                </a:moveTo>
                <a:cubicBezTo>
                  <a:pt x="12750" y="58364"/>
                  <a:pt x="-256" y="45019"/>
                  <a:pt x="-45" y="28760"/>
                </a:cubicBezTo>
                <a:cubicBezTo>
                  <a:pt x="165" y="12510"/>
                  <a:pt x="13512" y="-501"/>
                  <a:pt x="29765" y="-282"/>
                </a:cubicBezTo>
                <a:cubicBezTo>
                  <a:pt x="45869" y="-82"/>
                  <a:pt x="58815" y="13034"/>
                  <a:pt x="58816" y="29141"/>
                </a:cubicBezTo>
                <a:cubicBezTo>
                  <a:pt x="58817" y="45400"/>
                  <a:pt x="45641" y="58573"/>
                  <a:pt x="29387" y="58573"/>
                </a:cubicBezTo>
                <a:cubicBezTo>
                  <a:pt x="29258" y="58573"/>
                  <a:pt x="29131" y="58573"/>
                  <a:pt x="29003" y="58573"/>
                </a:cubicBezTo>
                <a:close/>
                <a:moveTo>
                  <a:pt x="29003" y="4567"/>
                </a:moveTo>
                <a:cubicBezTo>
                  <a:pt x="15379" y="4509"/>
                  <a:pt x="4291" y="15520"/>
                  <a:pt x="4238" y="29141"/>
                </a:cubicBezTo>
                <a:cubicBezTo>
                  <a:pt x="4186" y="42762"/>
                  <a:pt x="15188" y="53849"/>
                  <a:pt x="28813" y="53906"/>
                </a:cubicBezTo>
                <a:cubicBezTo>
                  <a:pt x="42437" y="53954"/>
                  <a:pt x="53525" y="42952"/>
                  <a:pt x="53578" y="29332"/>
                </a:cubicBezTo>
                <a:cubicBezTo>
                  <a:pt x="53578" y="29265"/>
                  <a:pt x="53578" y="29208"/>
                  <a:pt x="53578" y="29141"/>
                </a:cubicBezTo>
                <a:cubicBezTo>
                  <a:pt x="53736" y="15520"/>
                  <a:pt x="42819" y="4348"/>
                  <a:pt x="29195" y="4186"/>
                </a:cubicBezTo>
                <a:cubicBezTo>
                  <a:pt x="29132" y="4186"/>
                  <a:pt x="29067" y="4186"/>
                  <a:pt x="29003" y="4186"/>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3" name="Google Shape;1363;p25"/>
          <p:cNvSpPr/>
          <p:nvPr/>
        </p:nvSpPr>
        <p:spPr>
          <a:xfrm>
            <a:off x="1030424" y="3143585"/>
            <a:ext cx="150232" cy="210202"/>
          </a:xfrm>
          <a:custGeom>
            <a:avLst/>
            <a:gdLst/>
            <a:ahLst/>
            <a:cxnLst/>
            <a:rect l="l" t="t" r="r" b="b"/>
            <a:pathLst>
              <a:path w="152395" h="213230" extrusionOk="0">
                <a:moveTo>
                  <a:pt x="152348" y="75120"/>
                </a:moveTo>
                <a:cubicBezTo>
                  <a:pt x="151907" y="33038"/>
                  <a:pt x="117435" y="-718"/>
                  <a:pt x="75353" y="-280"/>
                </a:cubicBezTo>
                <a:cubicBezTo>
                  <a:pt x="33271" y="168"/>
                  <a:pt x="-485" y="34639"/>
                  <a:pt x="-44" y="76720"/>
                </a:cubicBezTo>
                <a:cubicBezTo>
                  <a:pt x="109" y="91293"/>
                  <a:pt x="4436" y="105514"/>
                  <a:pt x="12426" y="117697"/>
                </a:cubicBezTo>
                <a:lnTo>
                  <a:pt x="12426" y="117697"/>
                </a:lnTo>
                <a:lnTo>
                  <a:pt x="75862" y="212947"/>
                </a:lnTo>
                <a:lnTo>
                  <a:pt x="139299" y="117697"/>
                </a:lnTo>
                <a:lnTo>
                  <a:pt x="139299" y="117697"/>
                </a:lnTo>
                <a:cubicBezTo>
                  <a:pt x="147791" y="105123"/>
                  <a:pt x="152335" y="90293"/>
                  <a:pt x="152348" y="75120"/>
                </a:cubicBezTo>
                <a:close/>
                <a:moveTo>
                  <a:pt x="76148" y="117697"/>
                </a:moveTo>
                <a:cubicBezTo>
                  <a:pt x="52633" y="117697"/>
                  <a:pt x="33571" y="98637"/>
                  <a:pt x="33571" y="75120"/>
                </a:cubicBezTo>
                <a:cubicBezTo>
                  <a:pt x="33571" y="51603"/>
                  <a:pt x="52633" y="32543"/>
                  <a:pt x="76148" y="32543"/>
                </a:cubicBezTo>
                <a:cubicBezTo>
                  <a:pt x="99662" y="32543"/>
                  <a:pt x="118725" y="51603"/>
                  <a:pt x="118725" y="75120"/>
                </a:cubicBezTo>
                <a:cubicBezTo>
                  <a:pt x="118672" y="98685"/>
                  <a:pt x="99525" y="117754"/>
                  <a:pt x="75957" y="11769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4" name="Google Shape;1364;p25"/>
          <p:cNvSpPr/>
          <p:nvPr/>
        </p:nvSpPr>
        <p:spPr>
          <a:xfrm>
            <a:off x="2614623" y="3401394"/>
            <a:ext cx="53334" cy="53334"/>
          </a:xfrm>
          <a:custGeom>
            <a:avLst/>
            <a:gdLst/>
            <a:ahLst/>
            <a:cxnLst/>
            <a:rect l="l" t="t" r="r" b="b"/>
            <a:pathLst>
              <a:path w="54102" h="54102" extrusionOk="0">
                <a:moveTo>
                  <a:pt x="54054" y="26671"/>
                </a:moveTo>
                <a:cubicBezTo>
                  <a:pt x="54111" y="41607"/>
                  <a:pt x="42034" y="53760"/>
                  <a:pt x="27098" y="53818"/>
                </a:cubicBezTo>
                <a:cubicBezTo>
                  <a:pt x="12163" y="53865"/>
                  <a:pt x="9" y="41797"/>
                  <a:pt x="-48" y="26862"/>
                </a:cubicBezTo>
                <a:cubicBezTo>
                  <a:pt x="-95" y="11927"/>
                  <a:pt x="11973" y="-227"/>
                  <a:pt x="26908" y="-284"/>
                </a:cubicBezTo>
                <a:cubicBezTo>
                  <a:pt x="26937" y="-284"/>
                  <a:pt x="26975" y="-284"/>
                  <a:pt x="27003"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5" name="Google Shape;1365;p25"/>
          <p:cNvSpPr/>
          <p:nvPr/>
        </p:nvSpPr>
        <p:spPr>
          <a:xfrm>
            <a:off x="2612276" y="3398953"/>
            <a:ext cx="58029" cy="58028"/>
          </a:xfrm>
          <a:custGeom>
            <a:avLst/>
            <a:gdLst/>
            <a:ahLst/>
            <a:cxnLst/>
            <a:rect l="l" t="t" r="r" b="b"/>
            <a:pathLst>
              <a:path w="58864" h="58864" extrusionOk="0">
                <a:moveTo>
                  <a:pt x="29384" y="58580"/>
                </a:moveTo>
                <a:cubicBezTo>
                  <a:pt x="13125" y="58580"/>
                  <a:pt x="-48" y="45407"/>
                  <a:pt x="-48" y="29148"/>
                </a:cubicBezTo>
                <a:cubicBezTo>
                  <a:pt x="-48" y="12889"/>
                  <a:pt x="13125" y="-284"/>
                  <a:pt x="29384" y="-284"/>
                </a:cubicBezTo>
                <a:cubicBezTo>
                  <a:pt x="45644" y="-284"/>
                  <a:pt x="58817" y="12889"/>
                  <a:pt x="58817" y="29148"/>
                </a:cubicBezTo>
                <a:cubicBezTo>
                  <a:pt x="58817" y="45407"/>
                  <a:pt x="45644" y="58580"/>
                  <a:pt x="29384" y="58580"/>
                </a:cubicBezTo>
                <a:close/>
                <a:moveTo>
                  <a:pt x="29384" y="4574"/>
                </a:moveTo>
                <a:cubicBezTo>
                  <a:pt x="15764" y="4574"/>
                  <a:pt x="4715" y="15623"/>
                  <a:pt x="4715" y="29243"/>
                </a:cubicBezTo>
                <a:cubicBezTo>
                  <a:pt x="4715" y="42864"/>
                  <a:pt x="15764" y="53913"/>
                  <a:pt x="29384" y="53913"/>
                </a:cubicBezTo>
                <a:cubicBezTo>
                  <a:pt x="43005" y="53913"/>
                  <a:pt x="54054" y="42864"/>
                  <a:pt x="54054" y="29243"/>
                </a:cubicBezTo>
                <a:cubicBezTo>
                  <a:pt x="54054" y="29215"/>
                  <a:pt x="54054" y="29176"/>
                  <a:pt x="54054" y="29148"/>
                </a:cubicBezTo>
                <a:cubicBezTo>
                  <a:pt x="54216" y="15527"/>
                  <a:pt x="43300" y="4354"/>
                  <a:pt x="29670" y="4193"/>
                </a:cubicBezTo>
                <a:cubicBezTo>
                  <a:pt x="29575" y="4193"/>
                  <a:pt x="29480" y="4193"/>
                  <a:pt x="29384"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6" name="Google Shape;1366;p25"/>
          <p:cNvSpPr/>
          <p:nvPr/>
        </p:nvSpPr>
        <p:spPr>
          <a:xfrm>
            <a:off x="2566453" y="3143296"/>
            <a:ext cx="150238" cy="210492"/>
          </a:xfrm>
          <a:custGeom>
            <a:avLst/>
            <a:gdLst/>
            <a:ahLst/>
            <a:cxnLst/>
            <a:rect l="l" t="t" r="r" b="b"/>
            <a:pathLst>
              <a:path w="152402" h="213523" extrusionOk="0">
                <a:moveTo>
                  <a:pt x="152354" y="75413"/>
                </a:moveTo>
                <a:cubicBezTo>
                  <a:pt x="152078" y="33331"/>
                  <a:pt x="117731" y="-559"/>
                  <a:pt x="75649" y="-283"/>
                </a:cubicBezTo>
                <a:cubicBezTo>
                  <a:pt x="33568" y="3"/>
                  <a:pt x="-322" y="34341"/>
                  <a:pt x="-46" y="76422"/>
                </a:cubicBezTo>
                <a:cubicBezTo>
                  <a:pt x="59" y="91214"/>
                  <a:pt x="4459" y="105654"/>
                  <a:pt x="12622" y="117989"/>
                </a:cubicBezTo>
                <a:lnTo>
                  <a:pt x="12622" y="117989"/>
                </a:lnTo>
                <a:lnTo>
                  <a:pt x="75963" y="213239"/>
                </a:lnTo>
                <a:lnTo>
                  <a:pt x="139495" y="117989"/>
                </a:lnTo>
                <a:lnTo>
                  <a:pt x="139495" y="117989"/>
                </a:lnTo>
                <a:cubicBezTo>
                  <a:pt x="147925" y="105388"/>
                  <a:pt x="152402" y="90567"/>
                  <a:pt x="152354" y="75413"/>
                </a:cubicBezTo>
                <a:close/>
                <a:moveTo>
                  <a:pt x="76154" y="117989"/>
                </a:moveTo>
                <a:cubicBezTo>
                  <a:pt x="52637" y="117989"/>
                  <a:pt x="33577" y="98930"/>
                  <a:pt x="33577" y="75413"/>
                </a:cubicBezTo>
                <a:cubicBezTo>
                  <a:pt x="33577" y="51895"/>
                  <a:pt x="52637" y="32836"/>
                  <a:pt x="76154" y="32836"/>
                </a:cubicBezTo>
                <a:cubicBezTo>
                  <a:pt x="99671" y="32836"/>
                  <a:pt x="118731" y="51895"/>
                  <a:pt x="118731" y="75413"/>
                </a:cubicBezTo>
                <a:cubicBezTo>
                  <a:pt x="118731" y="98930"/>
                  <a:pt x="99671" y="117989"/>
                  <a:pt x="76154" y="117989"/>
                </a:cubicBezTo>
                <a:cubicBezTo>
                  <a:pt x="76059" y="117989"/>
                  <a:pt x="75963" y="117989"/>
                  <a:pt x="75868" y="11798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7" name="Google Shape;1367;p25"/>
          <p:cNvSpPr/>
          <p:nvPr/>
        </p:nvSpPr>
        <p:spPr>
          <a:xfrm>
            <a:off x="1847221" y="3401394"/>
            <a:ext cx="53334" cy="53334"/>
          </a:xfrm>
          <a:custGeom>
            <a:avLst/>
            <a:gdLst/>
            <a:ahLst/>
            <a:cxnLst/>
            <a:rect l="l" t="t" r="r" b="b"/>
            <a:pathLst>
              <a:path w="54102" h="54102" extrusionOk="0">
                <a:moveTo>
                  <a:pt x="54054" y="26671"/>
                </a:moveTo>
                <a:cubicBezTo>
                  <a:pt x="54111" y="41607"/>
                  <a:pt x="42034" y="53760"/>
                  <a:pt x="27098" y="53818"/>
                </a:cubicBezTo>
                <a:cubicBezTo>
                  <a:pt x="12163" y="53865"/>
                  <a:pt x="9" y="41797"/>
                  <a:pt x="-48" y="26862"/>
                </a:cubicBezTo>
                <a:cubicBezTo>
                  <a:pt x="-95" y="11927"/>
                  <a:pt x="11973" y="-227"/>
                  <a:pt x="26908" y="-284"/>
                </a:cubicBezTo>
                <a:cubicBezTo>
                  <a:pt x="26937" y="-284"/>
                  <a:pt x="26975" y="-284"/>
                  <a:pt x="27003"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8" name="Google Shape;1368;p25"/>
          <p:cNvSpPr/>
          <p:nvPr/>
        </p:nvSpPr>
        <p:spPr>
          <a:xfrm>
            <a:off x="1844874" y="3398953"/>
            <a:ext cx="58029" cy="58028"/>
          </a:xfrm>
          <a:custGeom>
            <a:avLst/>
            <a:gdLst/>
            <a:ahLst/>
            <a:cxnLst/>
            <a:rect l="l" t="t" r="r" b="b"/>
            <a:pathLst>
              <a:path w="58864" h="58864" extrusionOk="0">
                <a:moveTo>
                  <a:pt x="29384" y="58580"/>
                </a:moveTo>
                <a:cubicBezTo>
                  <a:pt x="13125" y="58580"/>
                  <a:pt x="-48" y="45407"/>
                  <a:pt x="-48" y="29148"/>
                </a:cubicBezTo>
                <a:cubicBezTo>
                  <a:pt x="-48" y="12889"/>
                  <a:pt x="13125" y="-284"/>
                  <a:pt x="29384" y="-284"/>
                </a:cubicBezTo>
                <a:cubicBezTo>
                  <a:pt x="45644" y="-284"/>
                  <a:pt x="58817" y="12889"/>
                  <a:pt x="58817" y="29148"/>
                </a:cubicBezTo>
                <a:cubicBezTo>
                  <a:pt x="58817" y="45407"/>
                  <a:pt x="45644" y="58580"/>
                  <a:pt x="29384" y="58580"/>
                </a:cubicBezTo>
                <a:close/>
                <a:moveTo>
                  <a:pt x="29384" y="4574"/>
                </a:moveTo>
                <a:cubicBezTo>
                  <a:pt x="15764" y="4574"/>
                  <a:pt x="4715" y="15623"/>
                  <a:pt x="4715" y="29243"/>
                </a:cubicBezTo>
                <a:cubicBezTo>
                  <a:pt x="4715" y="42864"/>
                  <a:pt x="15764" y="53913"/>
                  <a:pt x="29384" y="53913"/>
                </a:cubicBezTo>
                <a:cubicBezTo>
                  <a:pt x="43005" y="53913"/>
                  <a:pt x="54054" y="42864"/>
                  <a:pt x="54054" y="29243"/>
                </a:cubicBezTo>
                <a:cubicBezTo>
                  <a:pt x="54054" y="29215"/>
                  <a:pt x="54054" y="29176"/>
                  <a:pt x="54054" y="29148"/>
                </a:cubicBezTo>
                <a:cubicBezTo>
                  <a:pt x="54216" y="15527"/>
                  <a:pt x="43300" y="4354"/>
                  <a:pt x="29670" y="4193"/>
                </a:cubicBezTo>
                <a:cubicBezTo>
                  <a:pt x="29575" y="4193"/>
                  <a:pt x="29480" y="4193"/>
                  <a:pt x="29384"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9" name="Google Shape;1369;p25"/>
          <p:cNvSpPr/>
          <p:nvPr/>
        </p:nvSpPr>
        <p:spPr>
          <a:xfrm>
            <a:off x="1798582" y="3504494"/>
            <a:ext cx="150229" cy="210342"/>
          </a:xfrm>
          <a:custGeom>
            <a:avLst/>
            <a:gdLst/>
            <a:ahLst/>
            <a:cxnLst/>
            <a:rect l="l" t="t" r="r" b="b"/>
            <a:pathLst>
              <a:path w="152393" h="213372" extrusionOk="0">
                <a:moveTo>
                  <a:pt x="-48" y="137543"/>
                </a:moveTo>
                <a:cubicBezTo>
                  <a:pt x="314" y="179624"/>
                  <a:pt x="34718" y="213447"/>
                  <a:pt x="76800" y="213085"/>
                </a:cubicBezTo>
                <a:cubicBezTo>
                  <a:pt x="118881" y="212723"/>
                  <a:pt x="152705" y="178319"/>
                  <a:pt x="152343" y="136238"/>
                </a:cubicBezTo>
                <a:cubicBezTo>
                  <a:pt x="152219" y="121560"/>
                  <a:pt x="147856" y="107225"/>
                  <a:pt x="139779" y="94966"/>
                </a:cubicBezTo>
                <a:lnTo>
                  <a:pt x="139779" y="94966"/>
                </a:lnTo>
                <a:lnTo>
                  <a:pt x="76438" y="-284"/>
                </a:lnTo>
                <a:lnTo>
                  <a:pt x="13002" y="94966"/>
                </a:lnTo>
                <a:lnTo>
                  <a:pt x="13002" y="94966"/>
                </a:lnTo>
                <a:cubicBezTo>
                  <a:pt x="4505" y="107539"/>
                  <a:pt x="-38"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5" y="161060"/>
                  <a:pt x="33575" y="137543"/>
                </a:cubicBezTo>
                <a:cubicBezTo>
                  <a:pt x="33575" y="114025"/>
                  <a:pt x="52635" y="94966"/>
                  <a:pt x="76152" y="94966"/>
                </a:cubicBezTo>
                <a:cubicBezTo>
                  <a:pt x="76219" y="94966"/>
                  <a:pt x="76276" y="94966"/>
                  <a:pt x="76343"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0" name="Google Shape;1370;p25"/>
          <p:cNvSpPr/>
          <p:nvPr/>
        </p:nvSpPr>
        <p:spPr>
          <a:xfrm>
            <a:off x="3382503" y="3401394"/>
            <a:ext cx="53334" cy="53334"/>
          </a:xfrm>
          <a:custGeom>
            <a:avLst/>
            <a:gdLst/>
            <a:ahLst/>
            <a:cxnLst/>
            <a:rect l="l" t="t" r="r" b="b"/>
            <a:pathLst>
              <a:path w="54102" h="54102" extrusionOk="0">
                <a:moveTo>
                  <a:pt x="54054" y="26671"/>
                </a:moveTo>
                <a:cubicBezTo>
                  <a:pt x="54111" y="41607"/>
                  <a:pt x="42034" y="53760"/>
                  <a:pt x="27099" y="53818"/>
                </a:cubicBezTo>
                <a:cubicBezTo>
                  <a:pt x="12163" y="53865"/>
                  <a:pt x="9" y="41797"/>
                  <a:pt x="-48" y="26862"/>
                </a:cubicBezTo>
                <a:cubicBezTo>
                  <a:pt x="-95" y="11927"/>
                  <a:pt x="11973" y="-227"/>
                  <a:pt x="26908" y="-284"/>
                </a:cubicBezTo>
                <a:cubicBezTo>
                  <a:pt x="26975" y="-284"/>
                  <a:pt x="27032" y="-284"/>
                  <a:pt x="27099" y="-284"/>
                </a:cubicBezTo>
                <a:cubicBezTo>
                  <a:pt x="41967" y="-227"/>
                  <a:pt x="5400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1" name="Google Shape;1371;p25"/>
          <p:cNvSpPr/>
          <p:nvPr/>
        </p:nvSpPr>
        <p:spPr>
          <a:xfrm>
            <a:off x="3380344" y="3398953"/>
            <a:ext cx="58029" cy="58028"/>
          </a:xfrm>
          <a:custGeom>
            <a:avLst/>
            <a:gdLst/>
            <a:ahLst/>
            <a:cxnLst/>
            <a:rect l="l" t="t" r="r" b="b"/>
            <a:pathLst>
              <a:path w="58864" h="58864" extrusionOk="0">
                <a:moveTo>
                  <a:pt x="29480" y="58580"/>
                </a:moveTo>
                <a:cubicBezTo>
                  <a:pt x="13221" y="58638"/>
                  <a:pt x="10" y="45503"/>
                  <a:pt x="-48" y="29243"/>
                </a:cubicBezTo>
                <a:cubicBezTo>
                  <a:pt x="-95" y="12984"/>
                  <a:pt x="13030" y="-227"/>
                  <a:pt x="29289" y="-284"/>
                </a:cubicBezTo>
                <a:cubicBezTo>
                  <a:pt x="45549"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8"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04"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2" name="Google Shape;1372;p25"/>
          <p:cNvSpPr/>
          <p:nvPr/>
        </p:nvSpPr>
        <p:spPr>
          <a:xfrm>
            <a:off x="3334333" y="3504494"/>
            <a:ext cx="150231" cy="210203"/>
          </a:xfrm>
          <a:custGeom>
            <a:avLst/>
            <a:gdLst/>
            <a:ahLst/>
            <a:cxnLst/>
            <a:rect l="l" t="t" r="r" b="b"/>
            <a:pathLst>
              <a:path w="152394" h="213231" extrusionOk="0">
                <a:moveTo>
                  <a:pt x="-48" y="137543"/>
                </a:moveTo>
                <a:cubicBezTo>
                  <a:pt x="390" y="179624"/>
                  <a:pt x="34861" y="213381"/>
                  <a:pt x="76943" y="212943"/>
                </a:cubicBezTo>
                <a:cubicBezTo>
                  <a:pt x="119024" y="212495"/>
                  <a:pt x="152781" y="178024"/>
                  <a:pt x="152343" y="135942"/>
                </a:cubicBezTo>
                <a:cubicBezTo>
                  <a:pt x="152190" y="121369"/>
                  <a:pt x="147866" y="107148"/>
                  <a:pt x="139874" y="94966"/>
                </a:cubicBezTo>
                <a:lnTo>
                  <a:pt x="139874" y="94966"/>
                </a:lnTo>
                <a:lnTo>
                  <a:pt x="76533" y="-284"/>
                </a:lnTo>
                <a:lnTo>
                  <a:pt x="13001" y="94966"/>
                </a:lnTo>
                <a:lnTo>
                  <a:pt x="13001" y="94966"/>
                </a:lnTo>
                <a:cubicBezTo>
                  <a:pt x="4505" y="107539"/>
                  <a:pt x="-38"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5" y="161060"/>
                  <a:pt x="33575" y="137543"/>
                </a:cubicBezTo>
                <a:cubicBezTo>
                  <a:pt x="33575" y="114025"/>
                  <a:pt x="52635" y="94966"/>
                  <a:pt x="76152"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3" name="Google Shape;1373;p25"/>
          <p:cNvSpPr/>
          <p:nvPr/>
        </p:nvSpPr>
        <p:spPr>
          <a:xfrm>
            <a:off x="4918716" y="3401394"/>
            <a:ext cx="53334" cy="53334"/>
          </a:xfrm>
          <a:custGeom>
            <a:avLst/>
            <a:gdLst/>
            <a:ahLst/>
            <a:cxnLst/>
            <a:rect l="l" t="t" r="r" b="b"/>
            <a:pathLst>
              <a:path w="54102" h="54102" extrusionOk="0">
                <a:moveTo>
                  <a:pt x="54054" y="26671"/>
                </a:moveTo>
                <a:cubicBezTo>
                  <a:pt x="54102" y="41607"/>
                  <a:pt x="42043" y="53760"/>
                  <a:pt x="27098" y="53818"/>
                </a:cubicBezTo>
                <a:cubicBezTo>
                  <a:pt x="12163" y="53865"/>
                  <a:pt x="9" y="41797"/>
                  <a:pt x="-48" y="26862"/>
                </a:cubicBezTo>
                <a:cubicBezTo>
                  <a:pt x="-95" y="11927"/>
                  <a:pt x="11973" y="-227"/>
                  <a:pt x="26908" y="-284"/>
                </a:cubicBezTo>
                <a:cubicBezTo>
                  <a:pt x="26937" y="-284"/>
                  <a:pt x="26974" y="-284"/>
                  <a:pt x="27004" y="-284"/>
                </a:cubicBezTo>
                <a:cubicBezTo>
                  <a:pt x="41910" y="-284"/>
                  <a:pt x="5400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4" name="Google Shape;1374;p25"/>
          <p:cNvSpPr/>
          <p:nvPr/>
        </p:nvSpPr>
        <p:spPr>
          <a:xfrm>
            <a:off x="4916368" y="3398953"/>
            <a:ext cx="58029" cy="58028"/>
          </a:xfrm>
          <a:custGeom>
            <a:avLst/>
            <a:gdLst/>
            <a:ahLst/>
            <a:cxnLst/>
            <a:rect l="l" t="t" r="r" b="b"/>
            <a:pathLst>
              <a:path w="58864" h="58864" extrusionOk="0">
                <a:moveTo>
                  <a:pt x="29385" y="58580"/>
                </a:moveTo>
                <a:cubicBezTo>
                  <a:pt x="13125" y="58580"/>
                  <a:pt x="-48" y="45407"/>
                  <a:pt x="-48" y="29148"/>
                </a:cubicBezTo>
                <a:cubicBezTo>
                  <a:pt x="-48" y="12889"/>
                  <a:pt x="13125" y="-284"/>
                  <a:pt x="29385" y="-284"/>
                </a:cubicBezTo>
                <a:cubicBezTo>
                  <a:pt x="45644" y="-284"/>
                  <a:pt x="58817" y="12889"/>
                  <a:pt x="58817" y="29148"/>
                </a:cubicBezTo>
                <a:cubicBezTo>
                  <a:pt x="58817" y="45407"/>
                  <a:pt x="45644" y="58580"/>
                  <a:pt x="29385" y="58580"/>
                </a:cubicBezTo>
                <a:close/>
                <a:moveTo>
                  <a:pt x="29385" y="4574"/>
                </a:moveTo>
                <a:cubicBezTo>
                  <a:pt x="15763" y="4574"/>
                  <a:pt x="4715" y="15623"/>
                  <a:pt x="4715" y="29243"/>
                </a:cubicBezTo>
                <a:cubicBezTo>
                  <a:pt x="4715" y="42864"/>
                  <a:pt x="15763" y="53913"/>
                  <a:pt x="29385" y="53913"/>
                </a:cubicBezTo>
                <a:cubicBezTo>
                  <a:pt x="43015" y="53913"/>
                  <a:pt x="54054" y="42864"/>
                  <a:pt x="54054" y="29243"/>
                </a:cubicBezTo>
                <a:cubicBezTo>
                  <a:pt x="54054" y="29215"/>
                  <a:pt x="54054" y="29176"/>
                  <a:pt x="54054" y="29148"/>
                </a:cubicBezTo>
                <a:cubicBezTo>
                  <a:pt x="54216" y="15527"/>
                  <a:pt x="43301" y="4354"/>
                  <a:pt x="29670" y="4193"/>
                </a:cubicBezTo>
                <a:cubicBezTo>
                  <a:pt x="29575" y="4193"/>
                  <a:pt x="29479" y="4193"/>
                  <a:pt x="29385"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5" name="Google Shape;1375;p25"/>
          <p:cNvSpPr/>
          <p:nvPr/>
        </p:nvSpPr>
        <p:spPr>
          <a:xfrm>
            <a:off x="4870076" y="3504494"/>
            <a:ext cx="150228" cy="210342"/>
          </a:xfrm>
          <a:custGeom>
            <a:avLst/>
            <a:gdLst/>
            <a:ahLst/>
            <a:cxnLst/>
            <a:rect l="l" t="t" r="r" b="b"/>
            <a:pathLst>
              <a:path w="152392" h="213372" extrusionOk="0">
                <a:moveTo>
                  <a:pt x="-48" y="137543"/>
                </a:moveTo>
                <a:cubicBezTo>
                  <a:pt x="314" y="179624"/>
                  <a:pt x="34718" y="213447"/>
                  <a:pt x="76800" y="213085"/>
                </a:cubicBezTo>
                <a:cubicBezTo>
                  <a:pt x="118881" y="212723"/>
                  <a:pt x="152704" y="178319"/>
                  <a:pt x="152342" y="136238"/>
                </a:cubicBezTo>
                <a:cubicBezTo>
                  <a:pt x="152218" y="121560"/>
                  <a:pt x="147857" y="107225"/>
                  <a:pt x="139779" y="94966"/>
                </a:cubicBezTo>
                <a:lnTo>
                  <a:pt x="139779" y="94966"/>
                </a:lnTo>
                <a:lnTo>
                  <a:pt x="76438" y="-284"/>
                </a:lnTo>
                <a:lnTo>
                  <a:pt x="13001" y="94966"/>
                </a:lnTo>
                <a:lnTo>
                  <a:pt x="13001" y="94966"/>
                </a:lnTo>
                <a:cubicBezTo>
                  <a:pt x="4505" y="107539"/>
                  <a:pt x="-39"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5" y="161060"/>
                  <a:pt x="33575" y="137543"/>
                </a:cubicBezTo>
                <a:cubicBezTo>
                  <a:pt x="33575" y="114025"/>
                  <a:pt x="52635" y="94966"/>
                  <a:pt x="76152" y="94966"/>
                </a:cubicBezTo>
                <a:cubicBezTo>
                  <a:pt x="76219" y="94966"/>
                  <a:pt x="76276" y="94966"/>
                  <a:pt x="76343"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6" name="Google Shape;1376;p25"/>
          <p:cNvSpPr/>
          <p:nvPr/>
        </p:nvSpPr>
        <p:spPr>
          <a:xfrm>
            <a:off x="6454458" y="3401394"/>
            <a:ext cx="53334" cy="53334"/>
          </a:xfrm>
          <a:custGeom>
            <a:avLst/>
            <a:gdLst/>
            <a:ahLst/>
            <a:cxnLst/>
            <a:rect l="l" t="t" r="r" b="b"/>
            <a:pathLst>
              <a:path w="54102" h="54102" extrusionOk="0">
                <a:moveTo>
                  <a:pt x="54054" y="26671"/>
                </a:moveTo>
                <a:cubicBezTo>
                  <a:pt x="54102" y="41607"/>
                  <a:pt x="42034" y="53760"/>
                  <a:pt x="27099" y="53818"/>
                </a:cubicBezTo>
                <a:cubicBezTo>
                  <a:pt x="12154" y="53865"/>
                  <a:pt x="9" y="41797"/>
                  <a:pt x="-48" y="26862"/>
                </a:cubicBezTo>
                <a:cubicBezTo>
                  <a:pt x="-105" y="11927"/>
                  <a:pt x="11973" y="-227"/>
                  <a:pt x="26908" y="-284"/>
                </a:cubicBezTo>
                <a:cubicBezTo>
                  <a:pt x="26975" y="-284"/>
                  <a:pt x="27032" y="-284"/>
                  <a:pt x="27099" y="-284"/>
                </a:cubicBezTo>
                <a:cubicBezTo>
                  <a:pt x="41967" y="-227"/>
                  <a:pt x="5399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7" name="Google Shape;1377;p25"/>
          <p:cNvSpPr/>
          <p:nvPr/>
        </p:nvSpPr>
        <p:spPr>
          <a:xfrm>
            <a:off x="6452110" y="3398953"/>
            <a:ext cx="58029" cy="58028"/>
          </a:xfrm>
          <a:custGeom>
            <a:avLst/>
            <a:gdLst/>
            <a:ahLst/>
            <a:cxnLst/>
            <a:rect l="l" t="t" r="r" b="b"/>
            <a:pathLst>
              <a:path w="58864" h="58864" extrusionOk="0">
                <a:moveTo>
                  <a:pt x="29480" y="58580"/>
                </a:moveTo>
                <a:cubicBezTo>
                  <a:pt x="13221" y="58638"/>
                  <a:pt x="9" y="45503"/>
                  <a:pt x="-48" y="29243"/>
                </a:cubicBezTo>
                <a:cubicBezTo>
                  <a:pt x="-95" y="12984"/>
                  <a:pt x="13030" y="-227"/>
                  <a:pt x="29289" y="-284"/>
                </a:cubicBezTo>
                <a:cubicBezTo>
                  <a:pt x="45548"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9"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13"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8" name="Google Shape;1378;p25"/>
          <p:cNvSpPr/>
          <p:nvPr/>
        </p:nvSpPr>
        <p:spPr>
          <a:xfrm>
            <a:off x="6405819" y="3504494"/>
            <a:ext cx="150231" cy="210203"/>
          </a:xfrm>
          <a:custGeom>
            <a:avLst/>
            <a:gdLst/>
            <a:ahLst/>
            <a:cxnLst/>
            <a:rect l="l" t="t" r="r" b="b"/>
            <a:pathLst>
              <a:path w="152394" h="213231" extrusionOk="0">
                <a:moveTo>
                  <a:pt x="-48" y="137543"/>
                </a:moveTo>
                <a:cubicBezTo>
                  <a:pt x="391" y="179624"/>
                  <a:pt x="34861" y="213381"/>
                  <a:pt x="76943" y="212943"/>
                </a:cubicBezTo>
                <a:cubicBezTo>
                  <a:pt x="119024" y="212495"/>
                  <a:pt x="152781" y="178024"/>
                  <a:pt x="152343" y="135942"/>
                </a:cubicBezTo>
                <a:cubicBezTo>
                  <a:pt x="152191" y="121369"/>
                  <a:pt x="147866" y="107148"/>
                  <a:pt x="139874" y="94966"/>
                </a:cubicBezTo>
                <a:lnTo>
                  <a:pt x="139874" y="94966"/>
                </a:lnTo>
                <a:lnTo>
                  <a:pt x="76533" y="-284"/>
                </a:lnTo>
                <a:lnTo>
                  <a:pt x="13001" y="94966"/>
                </a:lnTo>
                <a:lnTo>
                  <a:pt x="13001" y="94966"/>
                </a:lnTo>
                <a:cubicBezTo>
                  <a:pt x="4505" y="107539"/>
                  <a:pt x="-39"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6" y="161060"/>
                  <a:pt x="33576" y="137543"/>
                </a:cubicBezTo>
                <a:cubicBezTo>
                  <a:pt x="33576" y="114025"/>
                  <a:pt x="52635" y="94966"/>
                  <a:pt x="76152" y="94966"/>
                </a:cubicBezTo>
                <a:cubicBezTo>
                  <a:pt x="76248" y="94966"/>
                  <a:pt x="76343" y="94966"/>
                  <a:pt x="76438"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9" name="Google Shape;1379;p25"/>
          <p:cNvSpPr/>
          <p:nvPr/>
        </p:nvSpPr>
        <p:spPr>
          <a:xfrm>
            <a:off x="7990200" y="3401394"/>
            <a:ext cx="53334" cy="53334"/>
          </a:xfrm>
          <a:custGeom>
            <a:avLst/>
            <a:gdLst/>
            <a:ahLst/>
            <a:cxnLst/>
            <a:rect l="l" t="t" r="r" b="b"/>
            <a:pathLst>
              <a:path w="54102" h="54102" extrusionOk="0">
                <a:moveTo>
                  <a:pt x="54054" y="26671"/>
                </a:moveTo>
                <a:cubicBezTo>
                  <a:pt x="54102" y="41607"/>
                  <a:pt x="42043" y="53760"/>
                  <a:pt x="27099" y="53818"/>
                </a:cubicBezTo>
                <a:cubicBezTo>
                  <a:pt x="12163" y="53865"/>
                  <a:pt x="10" y="41797"/>
                  <a:pt x="-48" y="26862"/>
                </a:cubicBezTo>
                <a:cubicBezTo>
                  <a:pt x="-95" y="11927"/>
                  <a:pt x="11973" y="-227"/>
                  <a:pt x="26908" y="-284"/>
                </a:cubicBezTo>
                <a:cubicBezTo>
                  <a:pt x="26937" y="-284"/>
                  <a:pt x="26975" y="-284"/>
                  <a:pt x="27004"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0" name="Google Shape;1380;p25"/>
          <p:cNvSpPr/>
          <p:nvPr/>
        </p:nvSpPr>
        <p:spPr>
          <a:xfrm>
            <a:off x="7987854" y="3398953"/>
            <a:ext cx="58029" cy="58028"/>
          </a:xfrm>
          <a:custGeom>
            <a:avLst/>
            <a:gdLst/>
            <a:ahLst/>
            <a:cxnLst/>
            <a:rect l="l" t="t" r="r" b="b"/>
            <a:pathLst>
              <a:path w="58864" h="58864" extrusionOk="0">
                <a:moveTo>
                  <a:pt x="29385" y="58580"/>
                </a:moveTo>
                <a:cubicBezTo>
                  <a:pt x="13125" y="58580"/>
                  <a:pt x="-48" y="45407"/>
                  <a:pt x="-48" y="29148"/>
                </a:cubicBezTo>
                <a:cubicBezTo>
                  <a:pt x="-48" y="12889"/>
                  <a:pt x="13125" y="-284"/>
                  <a:pt x="29385" y="-284"/>
                </a:cubicBezTo>
                <a:cubicBezTo>
                  <a:pt x="45644" y="-284"/>
                  <a:pt x="58817" y="12889"/>
                  <a:pt x="58817" y="29148"/>
                </a:cubicBezTo>
                <a:cubicBezTo>
                  <a:pt x="58817" y="45407"/>
                  <a:pt x="45644" y="58580"/>
                  <a:pt x="29385" y="58580"/>
                </a:cubicBezTo>
                <a:close/>
                <a:moveTo>
                  <a:pt x="29385" y="4574"/>
                </a:moveTo>
                <a:cubicBezTo>
                  <a:pt x="15764" y="4574"/>
                  <a:pt x="4715" y="15623"/>
                  <a:pt x="4715" y="29243"/>
                </a:cubicBezTo>
                <a:cubicBezTo>
                  <a:pt x="4715" y="42864"/>
                  <a:pt x="15764" y="53913"/>
                  <a:pt x="29385" y="53913"/>
                </a:cubicBezTo>
                <a:cubicBezTo>
                  <a:pt x="43005" y="53913"/>
                  <a:pt x="54054" y="42864"/>
                  <a:pt x="54054" y="29243"/>
                </a:cubicBezTo>
                <a:cubicBezTo>
                  <a:pt x="54054" y="29215"/>
                  <a:pt x="54054" y="29176"/>
                  <a:pt x="54054" y="29148"/>
                </a:cubicBezTo>
                <a:cubicBezTo>
                  <a:pt x="54216" y="15527"/>
                  <a:pt x="43301" y="4354"/>
                  <a:pt x="29670" y="4193"/>
                </a:cubicBezTo>
                <a:cubicBezTo>
                  <a:pt x="29575" y="4193"/>
                  <a:pt x="29480" y="4193"/>
                  <a:pt x="29385"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1" name="Google Shape;1381;p25"/>
          <p:cNvSpPr/>
          <p:nvPr/>
        </p:nvSpPr>
        <p:spPr>
          <a:xfrm>
            <a:off x="7941563" y="3504494"/>
            <a:ext cx="150231" cy="210203"/>
          </a:xfrm>
          <a:custGeom>
            <a:avLst/>
            <a:gdLst/>
            <a:ahLst/>
            <a:cxnLst/>
            <a:rect l="l" t="t" r="r" b="b"/>
            <a:pathLst>
              <a:path w="152394" h="213231" extrusionOk="0">
                <a:moveTo>
                  <a:pt x="-48" y="137543"/>
                </a:moveTo>
                <a:cubicBezTo>
                  <a:pt x="391" y="179624"/>
                  <a:pt x="34861" y="213381"/>
                  <a:pt x="76943" y="212943"/>
                </a:cubicBezTo>
                <a:cubicBezTo>
                  <a:pt x="119024" y="212495"/>
                  <a:pt x="152781" y="178024"/>
                  <a:pt x="152343" y="135942"/>
                </a:cubicBezTo>
                <a:cubicBezTo>
                  <a:pt x="152191" y="121369"/>
                  <a:pt x="147866" y="107148"/>
                  <a:pt x="139874" y="94966"/>
                </a:cubicBezTo>
                <a:lnTo>
                  <a:pt x="139874" y="94966"/>
                </a:lnTo>
                <a:lnTo>
                  <a:pt x="76533" y="-284"/>
                </a:lnTo>
                <a:lnTo>
                  <a:pt x="13097" y="94966"/>
                </a:lnTo>
                <a:lnTo>
                  <a:pt x="13097" y="94966"/>
                </a:lnTo>
                <a:cubicBezTo>
                  <a:pt x="4572" y="107529"/>
                  <a:pt x="-9" y="122360"/>
                  <a:pt x="-48" y="137543"/>
                </a:cubicBezTo>
                <a:close/>
                <a:moveTo>
                  <a:pt x="76152" y="94966"/>
                </a:moveTo>
                <a:cubicBezTo>
                  <a:pt x="99669" y="94966"/>
                  <a:pt x="118729" y="114025"/>
                  <a:pt x="118729" y="137543"/>
                </a:cubicBezTo>
                <a:cubicBezTo>
                  <a:pt x="118729" y="161060"/>
                  <a:pt x="99669" y="180119"/>
                  <a:pt x="76152" y="180119"/>
                </a:cubicBezTo>
                <a:cubicBezTo>
                  <a:pt x="52635" y="180119"/>
                  <a:pt x="33576" y="161060"/>
                  <a:pt x="33576" y="137543"/>
                </a:cubicBezTo>
                <a:cubicBezTo>
                  <a:pt x="33576" y="114025"/>
                  <a:pt x="52635" y="94966"/>
                  <a:pt x="76152" y="94966"/>
                </a:cubicBezTo>
                <a:cubicBezTo>
                  <a:pt x="76219" y="94966"/>
                  <a:pt x="76276" y="94966"/>
                  <a:pt x="76343"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2" name="Google Shape;1382;p25"/>
          <p:cNvSpPr/>
          <p:nvPr/>
        </p:nvSpPr>
        <p:spPr>
          <a:xfrm>
            <a:off x="9525664" y="3401394"/>
            <a:ext cx="53335" cy="53334"/>
          </a:xfrm>
          <a:custGeom>
            <a:avLst/>
            <a:gdLst/>
            <a:ahLst/>
            <a:cxnLst/>
            <a:rect l="l" t="t" r="r" b="b"/>
            <a:pathLst>
              <a:path w="54103" h="54102" extrusionOk="0">
                <a:moveTo>
                  <a:pt x="54055" y="26671"/>
                </a:moveTo>
                <a:cubicBezTo>
                  <a:pt x="54151" y="41607"/>
                  <a:pt x="42054" y="53760"/>
                  <a:pt x="27100" y="53818"/>
                </a:cubicBezTo>
                <a:cubicBezTo>
                  <a:pt x="12145" y="53865"/>
                  <a:pt x="48" y="41797"/>
                  <a:pt x="-47" y="26862"/>
                </a:cubicBezTo>
                <a:cubicBezTo>
                  <a:pt x="-141" y="11927"/>
                  <a:pt x="11954" y="-227"/>
                  <a:pt x="26909" y="-284"/>
                </a:cubicBezTo>
                <a:cubicBezTo>
                  <a:pt x="27005" y="-284"/>
                  <a:pt x="27005" y="-284"/>
                  <a:pt x="27100" y="-284"/>
                </a:cubicBezTo>
                <a:cubicBezTo>
                  <a:pt x="41958" y="-227"/>
                  <a:pt x="53960" y="11803"/>
                  <a:pt x="54055"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3" name="Google Shape;1383;p25"/>
          <p:cNvSpPr/>
          <p:nvPr/>
        </p:nvSpPr>
        <p:spPr>
          <a:xfrm>
            <a:off x="9523598" y="3398953"/>
            <a:ext cx="58029" cy="58028"/>
          </a:xfrm>
          <a:custGeom>
            <a:avLst/>
            <a:gdLst/>
            <a:ahLst/>
            <a:cxnLst/>
            <a:rect l="l" t="t" r="r" b="b"/>
            <a:pathLst>
              <a:path w="58865" h="58864" extrusionOk="0">
                <a:moveTo>
                  <a:pt x="29480" y="58580"/>
                </a:moveTo>
                <a:cubicBezTo>
                  <a:pt x="13193" y="58638"/>
                  <a:pt x="48" y="45503"/>
                  <a:pt x="-47" y="29243"/>
                </a:cubicBezTo>
                <a:cubicBezTo>
                  <a:pt x="-143" y="12984"/>
                  <a:pt x="13002" y="-227"/>
                  <a:pt x="29290" y="-284"/>
                </a:cubicBezTo>
                <a:cubicBezTo>
                  <a:pt x="45578" y="-332"/>
                  <a:pt x="58722" y="12794"/>
                  <a:pt x="58818" y="29053"/>
                </a:cubicBezTo>
                <a:cubicBezTo>
                  <a:pt x="58818" y="29082"/>
                  <a:pt x="58818" y="29120"/>
                  <a:pt x="58818" y="29148"/>
                </a:cubicBezTo>
                <a:cubicBezTo>
                  <a:pt x="58722" y="45341"/>
                  <a:pt x="45673" y="58476"/>
                  <a:pt x="29480" y="58580"/>
                </a:cubicBezTo>
                <a:close/>
                <a:moveTo>
                  <a:pt x="29480" y="4574"/>
                </a:moveTo>
                <a:cubicBezTo>
                  <a:pt x="15860" y="4516"/>
                  <a:pt x="4811" y="15527"/>
                  <a:pt x="4715" y="29148"/>
                </a:cubicBezTo>
                <a:cubicBezTo>
                  <a:pt x="4620" y="42769"/>
                  <a:pt x="15669" y="53856"/>
                  <a:pt x="29290" y="53913"/>
                </a:cubicBezTo>
                <a:cubicBezTo>
                  <a:pt x="42911" y="53961"/>
                  <a:pt x="53960" y="42959"/>
                  <a:pt x="54055" y="29339"/>
                </a:cubicBezTo>
                <a:cubicBezTo>
                  <a:pt x="54055" y="29272"/>
                  <a:pt x="54055" y="29215"/>
                  <a:pt x="54055" y="29148"/>
                </a:cubicBezTo>
                <a:cubicBezTo>
                  <a:pt x="54246" y="15527"/>
                  <a:pt x="43292" y="4355"/>
                  <a:pt x="29671" y="4193"/>
                </a:cubicBezTo>
                <a:cubicBezTo>
                  <a:pt x="29575" y="4193"/>
                  <a:pt x="29575"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4" name="Google Shape;1384;p25"/>
          <p:cNvSpPr/>
          <p:nvPr/>
        </p:nvSpPr>
        <p:spPr>
          <a:xfrm>
            <a:off x="9477308" y="3504494"/>
            <a:ext cx="150240" cy="210203"/>
          </a:xfrm>
          <a:custGeom>
            <a:avLst/>
            <a:gdLst/>
            <a:ahLst/>
            <a:cxnLst/>
            <a:rect l="l" t="t" r="r" b="b"/>
            <a:pathLst>
              <a:path w="152404" h="213231" extrusionOk="0">
                <a:moveTo>
                  <a:pt x="-48" y="137543"/>
                </a:moveTo>
                <a:cubicBezTo>
                  <a:pt x="428" y="179624"/>
                  <a:pt x="34908" y="213381"/>
                  <a:pt x="76914" y="212943"/>
                </a:cubicBezTo>
                <a:cubicBezTo>
                  <a:pt x="119015" y="212495"/>
                  <a:pt x="152828" y="178024"/>
                  <a:pt x="152352" y="135942"/>
                </a:cubicBezTo>
                <a:cubicBezTo>
                  <a:pt x="152161" y="121369"/>
                  <a:pt x="147875" y="107148"/>
                  <a:pt x="139874" y="94966"/>
                </a:cubicBezTo>
                <a:lnTo>
                  <a:pt x="139874" y="94966"/>
                </a:lnTo>
                <a:lnTo>
                  <a:pt x="76532" y="-284"/>
                </a:lnTo>
                <a:lnTo>
                  <a:pt x="13001" y="94966"/>
                </a:lnTo>
                <a:lnTo>
                  <a:pt x="13001" y="94966"/>
                </a:lnTo>
                <a:cubicBezTo>
                  <a:pt x="4524" y="107539"/>
                  <a:pt x="-48" y="122369"/>
                  <a:pt x="-48" y="137543"/>
                </a:cubicBezTo>
                <a:close/>
                <a:moveTo>
                  <a:pt x="76152" y="94966"/>
                </a:moveTo>
                <a:cubicBezTo>
                  <a:pt x="99679" y="94966"/>
                  <a:pt x="118729" y="114025"/>
                  <a:pt x="118729" y="137543"/>
                </a:cubicBezTo>
                <a:cubicBezTo>
                  <a:pt x="118729" y="161060"/>
                  <a:pt x="99679" y="180119"/>
                  <a:pt x="76152" y="180119"/>
                </a:cubicBezTo>
                <a:cubicBezTo>
                  <a:pt x="52625" y="180119"/>
                  <a:pt x="33575" y="161060"/>
                  <a:pt x="33575" y="137543"/>
                </a:cubicBezTo>
                <a:cubicBezTo>
                  <a:pt x="33575" y="114025"/>
                  <a:pt x="52625" y="94966"/>
                  <a:pt x="76152" y="94966"/>
                </a:cubicBezTo>
                <a:cubicBezTo>
                  <a:pt x="76248" y="94966"/>
                  <a:pt x="76342" y="94966"/>
                  <a:pt x="76437"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5" name="Google Shape;1385;p25"/>
          <p:cNvSpPr/>
          <p:nvPr/>
        </p:nvSpPr>
        <p:spPr>
          <a:xfrm>
            <a:off x="11061228" y="3401394"/>
            <a:ext cx="53335" cy="53334"/>
          </a:xfrm>
          <a:custGeom>
            <a:avLst/>
            <a:gdLst/>
            <a:ahLst/>
            <a:cxnLst/>
            <a:rect l="l" t="t" r="r" b="b"/>
            <a:pathLst>
              <a:path w="54103" h="54102" extrusionOk="0">
                <a:moveTo>
                  <a:pt x="54055" y="26671"/>
                </a:moveTo>
                <a:cubicBezTo>
                  <a:pt x="54149" y="41607"/>
                  <a:pt x="42054" y="53760"/>
                  <a:pt x="27099" y="53818"/>
                </a:cubicBezTo>
                <a:cubicBezTo>
                  <a:pt x="12145" y="53865"/>
                  <a:pt x="48" y="41797"/>
                  <a:pt x="-47" y="26862"/>
                </a:cubicBezTo>
                <a:cubicBezTo>
                  <a:pt x="-143" y="11927"/>
                  <a:pt x="11954" y="-227"/>
                  <a:pt x="26908" y="-284"/>
                </a:cubicBezTo>
                <a:cubicBezTo>
                  <a:pt x="27003" y="-284"/>
                  <a:pt x="27003" y="-284"/>
                  <a:pt x="27099" y="-284"/>
                </a:cubicBezTo>
                <a:cubicBezTo>
                  <a:pt x="41958" y="-227"/>
                  <a:pt x="53960" y="11803"/>
                  <a:pt x="54055"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6" name="Google Shape;1386;p25"/>
          <p:cNvSpPr/>
          <p:nvPr/>
        </p:nvSpPr>
        <p:spPr>
          <a:xfrm>
            <a:off x="11059069" y="3398953"/>
            <a:ext cx="58029" cy="58028"/>
          </a:xfrm>
          <a:custGeom>
            <a:avLst/>
            <a:gdLst/>
            <a:ahLst/>
            <a:cxnLst/>
            <a:rect l="l" t="t" r="r" b="b"/>
            <a:pathLst>
              <a:path w="58864" h="58864" extrusionOk="0">
                <a:moveTo>
                  <a:pt x="29480" y="58580"/>
                </a:moveTo>
                <a:cubicBezTo>
                  <a:pt x="13193" y="58638"/>
                  <a:pt x="48" y="45503"/>
                  <a:pt x="-47" y="29243"/>
                </a:cubicBezTo>
                <a:cubicBezTo>
                  <a:pt x="-143" y="12984"/>
                  <a:pt x="13002" y="-227"/>
                  <a:pt x="29289" y="-284"/>
                </a:cubicBezTo>
                <a:cubicBezTo>
                  <a:pt x="45577" y="-332"/>
                  <a:pt x="58721" y="12794"/>
                  <a:pt x="58817" y="29053"/>
                </a:cubicBezTo>
                <a:cubicBezTo>
                  <a:pt x="58817" y="29082"/>
                  <a:pt x="58817" y="29120"/>
                  <a:pt x="58817" y="29148"/>
                </a:cubicBezTo>
                <a:cubicBezTo>
                  <a:pt x="58721" y="45341"/>
                  <a:pt x="45672" y="58476"/>
                  <a:pt x="29480" y="58580"/>
                </a:cubicBezTo>
                <a:close/>
                <a:moveTo>
                  <a:pt x="29480" y="4574"/>
                </a:moveTo>
                <a:cubicBezTo>
                  <a:pt x="15859" y="4516"/>
                  <a:pt x="4811" y="15527"/>
                  <a:pt x="4715" y="29148"/>
                </a:cubicBezTo>
                <a:cubicBezTo>
                  <a:pt x="4620" y="42769"/>
                  <a:pt x="15669" y="53856"/>
                  <a:pt x="29289" y="53913"/>
                </a:cubicBezTo>
                <a:cubicBezTo>
                  <a:pt x="42911" y="53961"/>
                  <a:pt x="53959" y="42959"/>
                  <a:pt x="54054" y="29339"/>
                </a:cubicBezTo>
                <a:cubicBezTo>
                  <a:pt x="54054" y="29272"/>
                  <a:pt x="54054" y="29215"/>
                  <a:pt x="54054" y="29148"/>
                </a:cubicBezTo>
                <a:cubicBezTo>
                  <a:pt x="54245" y="15527"/>
                  <a:pt x="43291" y="4355"/>
                  <a:pt x="29671" y="4193"/>
                </a:cubicBezTo>
                <a:cubicBezTo>
                  <a:pt x="29575" y="4193"/>
                  <a:pt x="29575"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7" name="Google Shape;1387;p25"/>
          <p:cNvSpPr/>
          <p:nvPr/>
        </p:nvSpPr>
        <p:spPr>
          <a:xfrm>
            <a:off x="11013060" y="3504494"/>
            <a:ext cx="150240" cy="210203"/>
          </a:xfrm>
          <a:custGeom>
            <a:avLst/>
            <a:gdLst/>
            <a:ahLst/>
            <a:cxnLst/>
            <a:rect l="l" t="t" r="r" b="b"/>
            <a:pathLst>
              <a:path w="152404" h="213231" extrusionOk="0">
                <a:moveTo>
                  <a:pt x="-48" y="137543"/>
                </a:moveTo>
                <a:cubicBezTo>
                  <a:pt x="429" y="179624"/>
                  <a:pt x="34909" y="213381"/>
                  <a:pt x="76914" y="212943"/>
                </a:cubicBezTo>
                <a:cubicBezTo>
                  <a:pt x="119015" y="212495"/>
                  <a:pt x="152829" y="178024"/>
                  <a:pt x="152352" y="135942"/>
                </a:cubicBezTo>
                <a:cubicBezTo>
                  <a:pt x="152161" y="121369"/>
                  <a:pt x="147876" y="107148"/>
                  <a:pt x="139874" y="94966"/>
                </a:cubicBezTo>
                <a:lnTo>
                  <a:pt x="139874" y="94966"/>
                </a:lnTo>
                <a:lnTo>
                  <a:pt x="76534" y="-284"/>
                </a:lnTo>
                <a:lnTo>
                  <a:pt x="13001" y="94966"/>
                </a:lnTo>
                <a:lnTo>
                  <a:pt x="13001" y="94966"/>
                </a:lnTo>
                <a:cubicBezTo>
                  <a:pt x="4524" y="107539"/>
                  <a:pt x="-48" y="122369"/>
                  <a:pt x="-48" y="137543"/>
                </a:cubicBezTo>
                <a:close/>
                <a:moveTo>
                  <a:pt x="76152" y="94966"/>
                </a:moveTo>
                <a:cubicBezTo>
                  <a:pt x="99679" y="94966"/>
                  <a:pt x="118729" y="114025"/>
                  <a:pt x="118729" y="137543"/>
                </a:cubicBezTo>
                <a:cubicBezTo>
                  <a:pt x="118729" y="161060"/>
                  <a:pt x="99679" y="180119"/>
                  <a:pt x="76152" y="180119"/>
                </a:cubicBezTo>
                <a:cubicBezTo>
                  <a:pt x="52626" y="180119"/>
                  <a:pt x="33576" y="161060"/>
                  <a:pt x="33576" y="137543"/>
                </a:cubicBezTo>
                <a:cubicBezTo>
                  <a:pt x="33576" y="114025"/>
                  <a:pt x="52626" y="94966"/>
                  <a:pt x="76152"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8" name="Google Shape;1388;p25"/>
          <p:cNvSpPr/>
          <p:nvPr/>
        </p:nvSpPr>
        <p:spPr>
          <a:xfrm>
            <a:off x="4150086" y="3401394"/>
            <a:ext cx="53334" cy="53334"/>
          </a:xfrm>
          <a:custGeom>
            <a:avLst/>
            <a:gdLst/>
            <a:ahLst/>
            <a:cxnLst/>
            <a:rect l="l" t="t" r="r" b="b"/>
            <a:pathLst>
              <a:path w="54102" h="54102" extrusionOk="0">
                <a:moveTo>
                  <a:pt x="54054" y="26671"/>
                </a:moveTo>
                <a:cubicBezTo>
                  <a:pt x="54111" y="41607"/>
                  <a:pt x="42034" y="53760"/>
                  <a:pt x="27099" y="53818"/>
                </a:cubicBezTo>
                <a:cubicBezTo>
                  <a:pt x="12163" y="53865"/>
                  <a:pt x="9" y="41797"/>
                  <a:pt x="-48" y="26862"/>
                </a:cubicBezTo>
                <a:cubicBezTo>
                  <a:pt x="-95" y="11927"/>
                  <a:pt x="11973" y="-227"/>
                  <a:pt x="26908" y="-284"/>
                </a:cubicBezTo>
                <a:cubicBezTo>
                  <a:pt x="26975" y="-284"/>
                  <a:pt x="27032" y="-284"/>
                  <a:pt x="27099" y="-284"/>
                </a:cubicBezTo>
                <a:cubicBezTo>
                  <a:pt x="41967" y="-227"/>
                  <a:pt x="5400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9" name="Google Shape;1389;p25"/>
          <p:cNvSpPr/>
          <p:nvPr/>
        </p:nvSpPr>
        <p:spPr>
          <a:xfrm>
            <a:off x="4147645" y="3398953"/>
            <a:ext cx="58029" cy="58028"/>
          </a:xfrm>
          <a:custGeom>
            <a:avLst/>
            <a:gdLst/>
            <a:ahLst/>
            <a:cxnLst/>
            <a:rect l="l" t="t" r="r" b="b"/>
            <a:pathLst>
              <a:path w="58864" h="58864" extrusionOk="0">
                <a:moveTo>
                  <a:pt x="29480" y="58580"/>
                </a:moveTo>
                <a:cubicBezTo>
                  <a:pt x="13221" y="58638"/>
                  <a:pt x="10" y="45503"/>
                  <a:pt x="-48" y="29243"/>
                </a:cubicBezTo>
                <a:cubicBezTo>
                  <a:pt x="-95" y="12984"/>
                  <a:pt x="13030" y="-227"/>
                  <a:pt x="29289" y="-284"/>
                </a:cubicBezTo>
                <a:cubicBezTo>
                  <a:pt x="45548"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8"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04"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0" name="Google Shape;1390;p25"/>
          <p:cNvSpPr/>
          <p:nvPr/>
        </p:nvSpPr>
        <p:spPr>
          <a:xfrm>
            <a:off x="4102205" y="3143445"/>
            <a:ext cx="150229" cy="210342"/>
          </a:xfrm>
          <a:custGeom>
            <a:avLst/>
            <a:gdLst/>
            <a:ahLst/>
            <a:cxnLst/>
            <a:rect l="l" t="t" r="r" b="b"/>
            <a:pathLst>
              <a:path w="152393" h="213372" extrusionOk="0">
                <a:moveTo>
                  <a:pt x="152345" y="75261"/>
                </a:moveTo>
                <a:cubicBezTo>
                  <a:pt x="151984" y="33180"/>
                  <a:pt x="117579" y="-643"/>
                  <a:pt x="75498" y="-281"/>
                </a:cubicBezTo>
                <a:cubicBezTo>
                  <a:pt x="33416" y="81"/>
                  <a:pt x="-407" y="34485"/>
                  <a:pt x="-45" y="76566"/>
                </a:cubicBezTo>
                <a:cubicBezTo>
                  <a:pt x="79" y="91244"/>
                  <a:pt x="4441" y="105580"/>
                  <a:pt x="12519" y="117838"/>
                </a:cubicBezTo>
                <a:lnTo>
                  <a:pt x="12519" y="117838"/>
                </a:lnTo>
                <a:lnTo>
                  <a:pt x="75860" y="213088"/>
                </a:lnTo>
                <a:lnTo>
                  <a:pt x="139296" y="117838"/>
                </a:lnTo>
                <a:lnTo>
                  <a:pt x="139296" y="117838"/>
                </a:lnTo>
                <a:cubicBezTo>
                  <a:pt x="147793" y="105265"/>
                  <a:pt x="152336" y="90435"/>
                  <a:pt x="152345" y="75261"/>
                </a:cubicBezTo>
                <a:close/>
                <a:moveTo>
                  <a:pt x="76145" y="117838"/>
                </a:moveTo>
                <a:cubicBezTo>
                  <a:pt x="52628" y="117838"/>
                  <a:pt x="33569" y="98779"/>
                  <a:pt x="33569" y="75261"/>
                </a:cubicBezTo>
                <a:cubicBezTo>
                  <a:pt x="33569" y="51744"/>
                  <a:pt x="52628" y="32685"/>
                  <a:pt x="76145" y="32685"/>
                </a:cubicBezTo>
                <a:cubicBezTo>
                  <a:pt x="99663" y="32685"/>
                  <a:pt x="118722" y="51744"/>
                  <a:pt x="118722" y="75261"/>
                </a:cubicBezTo>
                <a:cubicBezTo>
                  <a:pt x="118722" y="98779"/>
                  <a:pt x="99663" y="117838"/>
                  <a:pt x="76145" y="117838"/>
                </a:cubicBezTo>
                <a:cubicBezTo>
                  <a:pt x="76079" y="117838"/>
                  <a:pt x="76022" y="117838"/>
                  <a:pt x="75955" y="1178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1" name="Google Shape;1391;p25"/>
          <p:cNvSpPr/>
          <p:nvPr/>
        </p:nvSpPr>
        <p:spPr>
          <a:xfrm>
            <a:off x="5685547" y="3401394"/>
            <a:ext cx="53334" cy="53334"/>
          </a:xfrm>
          <a:custGeom>
            <a:avLst/>
            <a:gdLst/>
            <a:ahLst/>
            <a:cxnLst/>
            <a:rect l="l" t="t" r="r" b="b"/>
            <a:pathLst>
              <a:path w="54102" h="54102" extrusionOk="0">
                <a:moveTo>
                  <a:pt x="54054" y="26671"/>
                </a:moveTo>
                <a:cubicBezTo>
                  <a:pt x="54111" y="41607"/>
                  <a:pt x="42034" y="53760"/>
                  <a:pt x="27099" y="53818"/>
                </a:cubicBezTo>
                <a:cubicBezTo>
                  <a:pt x="12163" y="53865"/>
                  <a:pt x="9" y="41797"/>
                  <a:pt x="-48" y="26862"/>
                </a:cubicBezTo>
                <a:cubicBezTo>
                  <a:pt x="-95" y="11927"/>
                  <a:pt x="11973" y="-227"/>
                  <a:pt x="26908" y="-284"/>
                </a:cubicBezTo>
                <a:cubicBezTo>
                  <a:pt x="26937" y="-284"/>
                  <a:pt x="26975" y="-284"/>
                  <a:pt x="27003" y="-284"/>
                </a:cubicBezTo>
                <a:cubicBezTo>
                  <a:pt x="41910" y="-284"/>
                  <a:pt x="5400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2" name="Google Shape;1392;p25"/>
          <p:cNvSpPr/>
          <p:nvPr/>
        </p:nvSpPr>
        <p:spPr>
          <a:xfrm>
            <a:off x="5683200" y="3398953"/>
            <a:ext cx="58029" cy="58028"/>
          </a:xfrm>
          <a:custGeom>
            <a:avLst/>
            <a:gdLst/>
            <a:ahLst/>
            <a:cxnLst/>
            <a:rect l="l" t="t" r="r" b="b"/>
            <a:pathLst>
              <a:path w="58864" h="58864" extrusionOk="0">
                <a:moveTo>
                  <a:pt x="29384" y="58580"/>
                </a:moveTo>
                <a:cubicBezTo>
                  <a:pt x="13125" y="58580"/>
                  <a:pt x="-48" y="45407"/>
                  <a:pt x="-48" y="29148"/>
                </a:cubicBezTo>
                <a:cubicBezTo>
                  <a:pt x="-48" y="12889"/>
                  <a:pt x="13125" y="-284"/>
                  <a:pt x="29384" y="-284"/>
                </a:cubicBezTo>
                <a:cubicBezTo>
                  <a:pt x="45644" y="-284"/>
                  <a:pt x="58817" y="12889"/>
                  <a:pt x="58817" y="29148"/>
                </a:cubicBezTo>
                <a:cubicBezTo>
                  <a:pt x="58817" y="45407"/>
                  <a:pt x="45644" y="58580"/>
                  <a:pt x="29384" y="58580"/>
                </a:cubicBezTo>
                <a:close/>
                <a:moveTo>
                  <a:pt x="29384" y="4574"/>
                </a:moveTo>
                <a:cubicBezTo>
                  <a:pt x="15764" y="4574"/>
                  <a:pt x="4715" y="15623"/>
                  <a:pt x="4715" y="29243"/>
                </a:cubicBezTo>
                <a:cubicBezTo>
                  <a:pt x="4715" y="42864"/>
                  <a:pt x="15764" y="53913"/>
                  <a:pt x="29384" y="53913"/>
                </a:cubicBezTo>
                <a:cubicBezTo>
                  <a:pt x="43005" y="53913"/>
                  <a:pt x="54054" y="42864"/>
                  <a:pt x="54054" y="29243"/>
                </a:cubicBezTo>
                <a:cubicBezTo>
                  <a:pt x="54054" y="29215"/>
                  <a:pt x="54054" y="29176"/>
                  <a:pt x="54054" y="29148"/>
                </a:cubicBezTo>
                <a:cubicBezTo>
                  <a:pt x="54216" y="15527"/>
                  <a:pt x="43291" y="4354"/>
                  <a:pt x="29670" y="4193"/>
                </a:cubicBezTo>
                <a:cubicBezTo>
                  <a:pt x="29575" y="4193"/>
                  <a:pt x="29480" y="4193"/>
                  <a:pt x="29384"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3" name="Google Shape;1393;p25"/>
          <p:cNvSpPr/>
          <p:nvPr/>
        </p:nvSpPr>
        <p:spPr>
          <a:xfrm>
            <a:off x="5637099" y="3143585"/>
            <a:ext cx="150231" cy="210202"/>
          </a:xfrm>
          <a:custGeom>
            <a:avLst/>
            <a:gdLst/>
            <a:ahLst/>
            <a:cxnLst/>
            <a:rect l="l" t="t" r="r" b="b"/>
            <a:pathLst>
              <a:path w="152394" h="213230" extrusionOk="0">
                <a:moveTo>
                  <a:pt x="152347" y="75120"/>
                </a:moveTo>
                <a:cubicBezTo>
                  <a:pt x="151909" y="33038"/>
                  <a:pt x="117438" y="-718"/>
                  <a:pt x="75356" y="-280"/>
                </a:cubicBezTo>
                <a:cubicBezTo>
                  <a:pt x="33275" y="168"/>
                  <a:pt x="-482" y="34639"/>
                  <a:pt x="-44" y="76720"/>
                </a:cubicBezTo>
                <a:cubicBezTo>
                  <a:pt x="109" y="91293"/>
                  <a:pt x="4433" y="105514"/>
                  <a:pt x="12425" y="117697"/>
                </a:cubicBezTo>
                <a:lnTo>
                  <a:pt x="12425" y="117697"/>
                </a:lnTo>
                <a:lnTo>
                  <a:pt x="75766" y="212947"/>
                </a:lnTo>
                <a:lnTo>
                  <a:pt x="139298" y="117697"/>
                </a:lnTo>
                <a:lnTo>
                  <a:pt x="139298" y="117697"/>
                </a:lnTo>
                <a:cubicBezTo>
                  <a:pt x="147794" y="105123"/>
                  <a:pt x="152337" y="90293"/>
                  <a:pt x="152347" y="75120"/>
                </a:cubicBezTo>
                <a:close/>
                <a:moveTo>
                  <a:pt x="76147" y="117697"/>
                </a:moveTo>
                <a:cubicBezTo>
                  <a:pt x="52630" y="117697"/>
                  <a:pt x="33570" y="98637"/>
                  <a:pt x="33570" y="75120"/>
                </a:cubicBezTo>
                <a:cubicBezTo>
                  <a:pt x="33570" y="51603"/>
                  <a:pt x="52630" y="32543"/>
                  <a:pt x="76147" y="32543"/>
                </a:cubicBezTo>
                <a:cubicBezTo>
                  <a:pt x="99664" y="32543"/>
                  <a:pt x="118724" y="51603"/>
                  <a:pt x="118724" y="75120"/>
                </a:cubicBezTo>
                <a:cubicBezTo>
                  <a:pt x="118724" y="98637"/>
                  <a:pt x="99664" y="117697"/>
                  <a:pt x="76147" y="117697"/>
                </a:cubicBezTo>
                <a:cubicBezTo>
                  <a:pt x="76051" y="117697"/>
                  <a:pt x="75956" y="117697"/>
                  <a:pt x="75861" y="11769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4" name="Google Shape;1394;p25"/>
          <p:cNvSpPr/>
          <p:nvPr/>
        </p:nvSpPr>
        <p:spPr>
          <a:xfrm>
            <a:off x="7221104" y="3401394"/>
            <a:ext cx="53334" cy="53334"/>
          </a:xfrm>
          <a:custGeom>
            <a:avLst/>
            <a:gdLst/>
            <a:ahLst/>
            <a:cxnLst/>
            <a:rect l="l" t="t" r="r" b="b"/>
            <a:pathLst>
              <a:path w="54102" h="54102" extrusionOk="0">
                <a:moveTo>
                  <a:pt x="54054" y="26671"/>
                </a:moveTo>
                <a:cubicBezTo>
                  <a:pt x="54102" y="41607"/>
                  <a:pt x="42033" y="53760"/>
                  <a:pt x="27098" y="53818"/>
                </a:cubicBezTo>
                <a:cubicBezTo>
                  <a:pt x="12154" y="53865"/>
                  <a:pt x="9" y="41797"/>
                  <a:pt x="-48" y="26862"/>
                </a:cubicBezTo>
                <a:cubicBezTo>
                  <a:pt x="-95" y="11927"/>
                  <a:pt x="11973" y="-227"/>
                  <a:pt x="26908" y="-284"/>
                </a:cubicBezTo>
                <a:cubicBezTo>
                  <a:pt x="26974" y="-284"/>
                  <a:pt x="27032" y="-284"/>
                  <a:pt x="27098" y="-284"/>
                </a:cubicBezTo>
                <a:cubicBezTo>
                  <a:pt x="41967" y="-227"/>
                  <a:pt x="5400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5" name="Google Shape;1395;p25"/>
          <p:cNvSpPr/>
          <p:nvPr/>
        </p:nvSpPr>
        <p:spPr>
          <a:xfrm>
            <a:off x="7218756" y="3398953"/>
            <a:ext cx="58029" cy="58028"/>
          </a:xfrm>
          <a:custGeom>
            <a:avLst/>
            <a:gdLst/>
            <a:ahLst/>
            <a:cxnLst/>
            <a:rect l="l" t="t" r="r" b="b"/>
            <a:pathLst>
              <a:path w="58864" h="58864" extrusionOk="0">
                <a:moveTo>
                  <a:pt x="29480" y="58580"/>
                </a:moveTo>
                <a:cubicBezTo>
                  <a:pt x="13221" y="58638"/>
                  <a:pt x="0" y="45503"/>
                  <a:pt x="-48" y="29243"/>
                </a:cubicBezTo>
                <a:cubicBezTo>
                  <a:pt x="-95" y="12984"/>
                  <a:pt x="13030" y="-227"/>
                  <a:pt x="29289" y="-284"/>
                </a:cubicBezTo>
                <a:cubicBezTo>
                  <a:pt x="45548"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9"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03"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6" name="Google Shape;1396;p25"/>
          <p:cNvSpPr/>
          <p:nvPr/>
        </p:nvSpPr>
        <p:spPr>
          <a:xfrm>
            <a:off x="7173692" y="3143445"/>
            <a:ext cx="150229" cy="210342"/>
          </a:xfrm>
          <a:custGeom>
            <a:avLst/>
            <a:gdLst/>
            <a:ahLst/>
            <a:cxnLst/>
            <a:rect l="l" t="t" r="r" b="b"/>
            <a:pathLst>
              <a:path w="152393" h="213372" extrusionOk="0">
                <a:moveTo>
                  <a:pt x="152346" y="75261"/>
                </a:moveTo>
                <a:cubicBezTo>
                  <a:pt x="151984" y="33180"/>
                  <a:pt x="117579" y="-643"/>
                  <a:pt x="75498" y="-281"/>
                </a:cubicBezTo>
                <a:cubicBezTo>
                  <a:pt x="33416" y="81"/>
                  <a:pt x="-407" y="34485"/>
                  <a:pt x="-45" y="76566"/>
                </a:cubicBezTo>
                <a:cubicBezTo>
                  <a:pt x="79" y="91244"/>
                  <a:pt x="4441" y="105580"/>
                  <a:pt x="12519" y="117838"/>
                </a:cubicBezTo>
                <a:lnTo>
                  <a:pt x="12519" y="117838"/>
                </a:lnTo>
                <a:lnTo>
                  <a:pt x="75860" y="213088"/>
                </a:lnTo>
                <a:lnTo>
                  <a:pt x="139297" y="117838"/>
                </a:lnTo>
                <a:lnTo>
                  <a:pt x="139297" y="117838"/>
                </a:lnTo>
                <a:cubicBezTo>
                  <a:pt x="147793" y="105265"/>
                  <a:pt x="152336" y="90435"/>
                  <a:pt x="152346" y="75261"/>
                </a:cubicBezTo>
                <a:close/>
                <a:moveTo>
                  <a:pt x="76146" y="117838"/>
                </a:moveTo>
                <a:cubicBezTo>
                  <a:pt x="52629" y="117838"/>
                  <a:pt x="33569" y="98779"/>
                  <a:pt x="33569" y="75261"/>
                </a:cubicBezTo>
                <a:cubicBezTo>
                  <a:pt x="33569" y="51744"/>
                  <a:pt x="52629" y="32685"/>
                  <a:pt x="76146" y="32685"/>
                </a:cubicBezTo>
                <a:cubicBezTo>
                  <a:pt x="99663" y="32685"/>
                  <a:pt x="118722" y="51744"/>
                  <a:pt x="118722" y="75261"/>
                </a:cubicBezTo>
                <a:cubicBezTo>
                  <a:pt x="118722" y="98779"/>
                  <a:pt x="99663" y="117838"/>
                  <a:pt x="76146" y="117838"/>
                </a:cubicBezTo>
                <a:cubicBezTo>
                  <a:pt x="76079" y="117838"/>
                  <a:pt x="76022" y="117838"/>
                  <a:pt x="75955" y="1178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7" name="Google Shape;1397;p25"/>
          <p:cNvSpPr/>
          <p:nvPr/>
        </p:nvSpPr>
        <p:spPr>
          <a:xfrm>
            <a:off x="8756660" y="3401394"/>
            <a:ext cx="53334" cy="53334"/>
          </a:xfrm>
          <a:custGeom>
            <a:avLst/>
            <a:gdLst/>
            <a:ahLst/>
            <a:cxnLst/>
            <a:rect l="l" t="t" r="r" b="b"/>
            <a:pathLst>
              <a:path w="54102" h="54102" extrusionOk="0">
                <a:moveTo>
                  <a:pt x="54054" y="26671"/>
                </a:moveTo>
                <a:cubicBezTo>
                  <a:pt x="54102" y="41607"/>
                  <a:pt x="42043" y="53760"/>
                  <a:pt x="27099" y="53818"/>
                </a:cubicBezTo>
                <a:cubicBezTo>
                  <a:pt x="12164" y="53865"/>
                  <a:pt x="10" y="41797"/>
                  <a:pt x="-48" y="26862"/>
                </a:cubicBezTo>
                <a:cubicBezTo>
                  <a:pt x="-95" y="11927"/>
                  <a:pt x="11973" y="-227"/>
                  <a:pt x="26908" y="-284"/>
                </a:cubicBezTo>
                <a:cubicBezTo>
                  <a:pt x="26937" y="-284"/>
                  <a:pt x="26975" y="-284"/>
                  <a:pt x="27004"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8" name="Google Shape;1398;p25"/>
          <p:cNvSpPr/>
          <p:nvPr/>
        </p:nvSpPr>
        <p:spPr>
          <a:xfrm>
            <a:off x="8754314" y="3398953"/>
            <a:ext cx="58029" cy="58028"/>
          </a:xfrm>
          <a:custGeom>
            <a:avLst/>
            <a:gdLst/>
            <a:ahLst/>
            <a:cxnLst/>
            <a:rect l="l" t="t" r="r" b="b"/>
            <a:pathLst>
              <a:path w="58864" h="58864" extrusionOk="0">
                <a:moveTo>
                  <a:pt x="29385" y="58580"/>
                </a:moveTo>
                <a:cubicBezTo>
                  <a:pt x="13125" y="58580"/>
                  <a:pt x="-48" y="45407"/>
                  <a:pt x="-48" y="29148"/>
                </a:cubicBezTo>
                <a:cubicBezTo>
                  <a:pt x="-48" y="12889"/>
                  <a:pt x="13125" y="-284"/>
                  <a:pt x="29385" y="-284"/>
                </a:cubicBezTo>
                <a:cubicBezTo>
                  <a:pt x="45644" y="-284"/>
                  <a:pt x="58817" y="12889"/>
                  <a:pt x="58817" y="29148"/>
                </a:cubicBezTo>
                <a:cubicBezTo>
                  <a:pt x="58817" y="45407"/>
                  <a:pt x="45644" y="58580"/>
                  <a:pt x="29385" y="58580"/>
                </a:cubicBezTo>
                <a:close/>
                <a:moveTo>
                  <a:pt x="29385" y="4574"/>
                </a:moveTo>
                <a:cubicBezTo>
                  <a:pt x="15764" y="4574"/>
                  <a:pt x="4715" y="15623"/>
                  <a:pt x="4715" y="29243"/>
                </a:cubicBezTo>
                <a:cubicBezTo>
                  <a:pt x="4715" y="42864"/>
                  <a:pt x="15764" y="53913"/>
                  <a:pt x="29385" y="53913"/>
                </a:cubicBezTo>
                <a:cubicBezTo>
                  <a:pt x="43005" y="53913"/>
                  <a:pt x="54054" y="42864"/>
                  <a:pt x="54054" y="29243"/>
                </a:cubicBezTo>
                <a:cubicBezTo>
                  <a:pt x="54054" y="29215"/>
                  <a:pt x="54054" y="29176"/>
                  <a:pt x="54054" y="29148"/>
                </a:cubicBezTo>
                <a:cubicBezTo>
                  <a:pt x="54216" y="15527"/>
                  <a:pt x="43301" y="4354"/>
                  <a:pt x="29670" y="4193"/>
                </a:cubicBezTo>
                <a:cubicBezTo>
                  <a:pt x="29575" y="4193"/>
                  <a:pt x="29480" y="4193"/>
                  <a:pt x="29385"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9" name="Google Shape;1399;p25"/>
          <p:cNvSpPr/>
          <p:nvPr/>
        </p:nvSpPr>
        <p:spPr>
          <a:xfrm>
            <a:off x="8709435" y="3143585"/>
            <a:ext cx="150231" cy="210202"/>
          </a:xfrm>
          <a:custGeom>
            <a:avLst/>
            <a:gdLst/>
            <a:ahLst/>
            <a:cxnLst/>
            <a:rect l="l" t="t" r="r" b="b"/>
            <a:pathLst>
              <a:path w="152394" h="213230" extrusionOk="0">
                <a:moveTo>
                  <a:pt x="152347" y="75120"/>
                </a:moveTo>
                <a:cubicBezTo>
                  <a:pt x="151909" y="33038"/>
                  <a:pt x="117438" y="-718"/>
                  <a:pt x="75356" y="-280"/>
                </a:cubicBezTo>
                <a:cubicBezTo>
                  <a:pt x="33275" y="168"/>
                  <a:pt x="-482" y="34639"/>
                  <a:pt x="-44" y="76720"/>
                </a:cubicBezTo>
                <a:cubicBezTo>
                  <a:pt x="109" y="91293"/>
                  <a:pt x="4433" y="105514"/>
                  <a:pt x="12425" y="117697"/>
                </a:cubicBezTo>
                <a:lnTo>
                  <a:pt x="12425" y="117697"/>
                </a:lnTo>
                <a:lnTo>
                  <a:pt x="75861" y="212947"/>
                </a:lnTo>
                <a:lnTo>
                  <a:pt x="139298" y="117697"/>
                </a:lnTo>
                <a:lnTo>
                  <a:pt x="139298" y="117697"/>
                </a:lnTo>
                <a:cubicBezTo>
                  <a:pt x="147794" y="105123"/>
                  <a:pt x="152337" y="90293"/>
                  <a:pt x="152347" y="75120"/>
                </a:cubicBezTo>
                <a:close/>
                <a:moveTo>
                  <a:pt x="76147" y="117697"/>
                </a:moveTo>
                <a:cubicBezTo>
                  <a:pt x="52630" y="117697"/>
                  <a:pt x="33570" y="98637"/>
                  <a:pt x="33570" y="75120"/>
                </a:cubicBezTo>
                <a:cubicBezTo>
                  <a:pt x="33570" y="51603"/>
                  <a:pt x="52630" y="32543"/>
                  <a:pt x="76147" y="32543"/>
                </a:cubicBezTo>
                <a:cubicBezTo>
                  <a:pt x="99664" y="32543"/>
                  <a:pt x="118724" y="51603"/>
                  <a:pt x="118724" y="75120"/>
                </a:cubicBezTo>
                <a:cubicBezTo>
                  <a:pt x="118667" y="98685"/>
                  <a:pt x="99521" y="117754"/>
                  <a:pt x="75956" y="11769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0" name="Google Shape;1400;p25"/>
          <p:cNvSpPr/>
          <p:nvPr/>
        </p:nvSpPr>
        <p:spPr>
          <a:xfrm>
            <a:off x="10292414" y="3401394"/>
            <a:ext cx="53334" cy="53334"/>
          </a:xfrm>
          <a:custGeom>
            <a:avLst/>
            <a:gdLst/>
            <a:ahLst/>
            <a:cxnLst/>
            <a:rect l="l" t="t" r="r" b="b"/>
            <a:pathLst>
              <a:path w="54102" h="54102" extrusionOk="0">
                <a:moveTo>
                  <a:pt x="54055" y="26671"/>
                </a:moveTo>
                <a:cubicBezTo>
                  <a:pt x="54112" y="41607"/>
                  <a:pt x="42034" y="53760"/>
                  <a:pt x="27099" y="53818"/>
                </a:cubicBezTo>
                <a:cubicBezTo>
                  <a:pt x="12164" y="53865"/>
                  <a:pt x="10" y="41797"/>
                  <a:pt x="-48" y="26862"/>
                </a:cubicBezTo>
                <a:cubicBezTo>
                  <a:pt x="-95" y="11927"/>
                  <a:pt x="11973" y="-227"/>
                  <a:pt x="26908" y="-284"/>
                </a:cubicBezTo>
                <a:cubicBezTo>
                  <a:pt x="26975" y="-284"/>
                  <a:pt x="27032" y="-284"/>
                  <a:pt x="27099" y="-284"/>
                </a:cubicBezTo>
                <a:cubicBezTo>
                  <a:pt x="41967" y="-227"/>
                  <a:pt x="54007" y="11803"/>
                  <a:pt x="54055"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1" name="Google Shape;1401;p25"/>
          <p:cNvSpPr/>
          <p:nvPr/>
        </p:nvSpPr>
        <p:spPr>
          <a:xfrm>
            <a:off x="10290066" y="3398953"/>
            <a:ext cx="58029" cy="58028"/>
          </a:xfrm>
          <a:custGeom>
            <a:avLst/>
            <a:gdLst/>
            <a:ahLst/>
            <a:cxnLst/>
            <a:rect l="l" t="t" r="r" b="b"/>
            <a:pathLst>
              <a:path w="58865" h="58864" extrusionOk="0">
                <a:moveTo>
                  <a:pt x="29480" y="58580"/>
                </a:moveTo>
                <a:cubicBezTo>
                  <a:pt x="13221" y="58638"/>
                  <a:pt x="10" y="45503"/>
                  <a:pt x="-48" y="29243"/>
                </a:cubicBezTo>
                <a:cubicBezTo>
                  <a:pt x="-95" y="12984"/>
                  <a:pt x="13031" y="-227"/>
                  <a:pt x="29289" y="-284"/>
                </a:cubicBezTo>
                <a:cubicBezTo>
                  <a:pt x="45549" y="-332"/>
                  <a:pt x="58760" y="12794"/>
                  <a:pt x="58817" y="29053"/>
                </a:cubicBezTo>
                <a:cubicBezTo>
                  <a:pt x="58817" y="29082"/>
                  <a:pt x="58817" y="29120"/>
                  <a:pt x="58817" y="29148"/>
                </a:cubicBezTo>
                <a:cubicBezTo>
                  <a:pt x="58770" y="45341"/>
                  <a:pt x="45673" y="58476"/>
                  <a:pt x="29480" y="58580"/>
                </a:cubicBezTo>
                <a:close/>
                <a:moveTo>
                  <a:pt x="29480" y="4574"/>
                </a:moveTo>
                <a:cubicBezTo>
                  <a:pt x="15859" y="4516"/>
                  <a:pt x="4772" y="15527"/>
                  <a:pt x="4715" y="29148"/>
                </a:cubicBezTo>
                <a:cubicBezTo>
                  <a:pt x="4668" y="42769"/>
                  <a:pt x="15669" y="53856"/>
                  <a:pt x="29289" y="53913"/>
                </a:cubicBezTo>
                <a:cubicBezTo>
                  <a:pt x="42910" y="53961"/>
                  <a:pt x="53997" y="42959"/>
                  <a:pt x="54055" y="29339"/>
                </a:cubicBezTo>
                <a:cubicBezTo>
                  <a:pt x="54055" y="29272"/>
                  <a:pt x="54055" y="29215"/>
                  <a:pt x="54055" y="29148"/>
                </a:cubicBezTo>
                <a:cubicBezTo>
                  <a:pt x="54216" y="15527"/>
                  <a:pt x="43301" y="4355"/>
                  <a:pt x="29671" y="4193"/>
                </a:cubicBezTo>
                <a:cubicBezTo>
                  <a:pt x="29604" y="4193"/>
                  <a:pt x="29547"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2" name="Google Shape;1402;p25"/>
          <p:cNvSpPr/>
          <p:nvPr/>
        </p:nvSpPr>
        <p:spPr>
          <a:xfrm>
            <a:off x="10245190" y="3143445"/>
            <a:ext cx="150229" cy="210342"/>
          </a:xfrm>
          <a:custGeom>
            <a:avLst/>
            <a:gdLst/>
            <a:ahLst/>
            <a:cxnLst/>
            <a:rect l="l" t="t" r="r" b="b"/>
            <a:pathLst>
              <a:path w="152393" h="213372" extrusionOk="0">
                <a:moveTo>
                  <a:pt x="152346" y="75261"/>
                </a:moveTo>
                <a:cubicBezTo>
                  <a:pt x="151984" y="33180"/>
                  <a:pt x="117579" y="-643"/>
                  <a:pt x="75498" y="-281"/>
                </a:cubicBezTo>
                <a:cubicBezTo>
                  <a:pt x="33416" y="81"/>
                  <a:pt x="-407" y="34485"/>
                  <a:pt x="-45" y="76566"/>
                </a:cubicBezTo>
                <a:cubicBezTo>
                  <a:pt x="79" y="91244"/>
                  <a:pt x="4441" y="105580"/>
                  <a:pt x="12519" y="117838"/>
                </a:cubicBezTo>
                <a:lnTo>
                  <a:pt x="12519" y="117838"/>
                </a:lnTo>
                <a:lnTo>
                  <a:pt x="75860" y="213088"/>
                </a:lnTo>
                <a:lnTo>
                  <a:pt x="139392" y="117838"/>
                </a:lnTo>
                <a:lnTo>
                  <a:pt x="139392" y="117838"/>
                </a:lnTo>
                <a:cubicBezTo>
                  <a:pt x="147850" y="105256"/>
                  <a:pt x="152365" y="90425"/>
                  <a:pt x="152346" y="75261"/>
                </a:cubicBezTo>
                <a:close/>
                <a:moveTo>
                  <a:pt x="76146" y="117838"/>
                </a:moveTo>
                <a:cubicBezTo>
                  <a:pt x="52629" y="117838"/>
                  <a:pt x="33569" y="98779"/>
                  <a:pt x="33569" y="75261"/>
                </a:cubicBezTo>
                <a:cubicBezTo>
                  <a:pt x="33569" y="51744"/>
                  <a:pt x="52629" y="32685"/>
                  <a:pt x="76146" y="32685"/>
                </a:cubicBezTo>
                <a:cubicBezTo>
                  <a:pt x="99663" y="32685"/>
                  <a:pt x="118722" y="51744"/>
                  <a:pt x="118722" y="75261"/>
                </a:cubicBezTo>
                <a:cubicBezTo>
                  <a:pt x="118722" y="98779"/>
                  <a:pt x="99663" y="117838"/>
                  <a:pt x="76146" y="117838"/>
                </a:cubicBezTo>
                <a:cubicBezTo>
                  <a:pt x="76079" y="117838"/>
                  <a:pt x="76022" y="117838"/>
                  <a:pt x="75955" y="1178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3" name="Google Shape;1403;p25"/>
          <p:cNvSpPr txBox="1"/>
          <p:nvPr/>
        </p:nvSpPr>
        <p:spPr>
          <a:xfrm>
            <a:off x="430664"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77 –</a:t>
            </a:r>
            <a:r>
              <a:rPr lang="en-US" sz="1200" b="0" i="0" u="none" strike="noStrike" cap="none">
                <a:solidFill>
                  <a:schemeClr val="dk1"/>
                </a:solidFill>
                <a:latin typeface="Poppins"/>
                <a:ea typeface="Poppins"/>
                <a:cs typeface="Poppins"/>
                <a:sym typeface="Poppins"/>
              </a:rPr>
              <a:t> ILAC established</a:t>
            </a:r>
            <a:endParaRPr sz="1400" b="0" i="0" u="none" strike="noStrike" cap="none">
              <a:solidFill>
                <a:srgbClr val="000000"/>
              </a:solidFill>
              <a:latin typeface="Arial"/>
              <a:ea typeface="Arial"/>
              <a:cs typeface="Arial"/>
              <a:sym typeface="Arial"/>
            </a:endParaRPr>
          </a:p>
        </p:txBody>
      </p:sp>
      <p:sp>
        <p:nvSpPr>
          <p:cNvPr id="1404" name="Google Shape;1404;p25"/>
          <p:cNvSpPr txBox="1"/>
          <p:nvPr/>
        </p:nvSpPr>
        <p:spPr>
          <a:xfrm>
            <a:off x="1198820"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3 –</a:t>
            </a:r>
            <a:r>
              <a:rPr lang="en-US" sz="1200" b="0" i="0" u="none" strike="noStrike" cap="none">
                <a:solidFill>
                  <a:schemeClr val="dk1"/>
                </a:solidFill>
                <a:latin typeface="Poppins"/>
                <a:ea typeface="Poppins"/>
                <a:cs typeface="Poppins"/>
                <a:sym typeface="Poppins"/>
              </a:rPr>
              <a:t> IAF established</a:t>
            </a:r>
            <a:endParaRPr sz="1400" b="0" i="0" u="none" strike="noStrike" cap="none">
              <a:solidFill>
                <a:srgbClr val="000000"/>
              </a:solidFill>
              <a:latin typeface="Arial"/>
              <a:ea typeface="Arial"/>
              <a:cs typeface="Arial"/>
              <a:sym typeface="Arial"/>
            </a:endParaRPr>
          </a:p>
        </p:txBody>
      </p:sp>
      <p:sp>
        <p:nvSpPr>
          <p:cNvPr id="1405" name="Google Shape;1405;p25"/>
          <p:cNvSpPr txBox="1"/>
          <p:nvPr/>
        </p:nvSpPr>
        <p:spPr>
          <a:xfrm>
            <a:off x="1966091"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5 –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MOU</a:t>
            </a:r>
            <a:endParaRPr sz="1400" b="0" i="0" u="none" strike="noStrike" cap="none">
              <a:solidFill>
                <a:srgbClr val="000000"/>
              </a:solidFill>
              <a:latin typeface="Arial"/>
              <a:ea typeface="Arial"/>
              <a:cs typeface="Arial"/>
              <a:sym typeface="Arial"/>
            </a:endParaRPr>
          </a:p>
        </p:txBody>
      </p:sp>
      <p:sp>
        <p:nvSpPr>
          <p:cNvPr id="1406" name="Google Shape;1406;p25"/>
          <p:cNvSpPr txBox="1"/>
          <p:nvPr/>
        </p:nvSpPr>
        <p:spPr>
          <a:xfrm>
            <a:off x="2733463"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6 –</a:t>
            </a:r>
            <a:r>
              <a:rPr lang="en-US" sz="1200" b="0" i="0" u="none" strike="noStrike" cap="none">
                <a:solidFill>
                  <a:schemeClr val="dk1"/>
                </a:solidFill>
                <a:latin typeface="Poppins"/>
                <a:ea typeface="Poppins"/>
                <a:cs typeface="Poppins"/>
                <a:sym typeface="Poppins"/>
              </a:rPr>
              <a:t> ILAC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OU</a:t>
            </a:r>
            <a:endParaRPr sz="1400" b="0" i="0" u="none" strike="noStrike" cap="none">
              <a:solidFill>
                <a:srgbClr val="000000"/>
              </a:solidFill>
              <a:latin typeface="Arial"/>
              <a:ea typeface="Arial"/>
              <a:cs typeface="Arial"/>
              <a:sym typeface="Arial"/>
            </a:endParaRPr>
          </a:p>
        </p:txBody>
      </p:sp>
      <p:sp>
        <p:nvSpPr>
          <p:cNvPr id="1407" name="Google Shape;1407;p25"/>
          <p:cNvSpPr txBox="1"/>
          <p:nvPr/>
        </p:nvSpPr>
        <p:spPr>
          <a:xfrm>
            <a:off x="3333014" y="3887697"/>
            <a:ext cx="1687290" cy="101566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8 -</a:t>
            </a:r>
            <a:r>
              <a:rPr lang="en-US" sz="1200" b="0" i="0" u="none" strike="noStrike" cap="none">
                <a:solidFill>
                  <a:schemeClr val="dk1"/>
                </a:solidFill>
                <a:latin typeface="Poppins"/>
                <a:ea typeface="Poppins"/>
                <a:cs typeface="Poppins"/>
                <a:sym typeface="Poppins"/>
              </a:rPr>
              <a:t> IAF MLA Management Systems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Bylaws</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Incorporated</a:t>
            </a:r>
            <a:endParaRPr sz="1400" b="0" i="0" u="none" strike="noStrike" cap="none">
              <a:solidFill>
                <a:srgbClr val="000000"/>
              </a:solidFill>
              <a:latin typeface="Arial"/>
              <a:ea typeface="Arial"/>
              <a:cs typeface="Arial"/>
              <a:sym typeface="Arial"/>
            </a:endParaRPr>
          </a:p>
        </p:txBody>
      </p:sp>
      <p:sp>
        <p:nvSpPr>
          <p:cNvPr id="1408" name="Google Shape;1408;p25"/>
          <p:cNvSpPr txBox="1"/>
          <p:nvPr/>
        </p:nvSpPr>
        <p:spPr>
          <a:xfrm>
            <a:off x="4203420" y="2346260"/>
            <a:ext cx="1491926"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0 - </a:t>
            </a:r>
            <a:r>
              <a:rPr lang="en-US" sz="1200" b="0" i="0" u="none" strike="noStrike" cap="none">
                <a:solidFill>
                  <a:schemeClr val="dk1"/>
                </a:solidFill>
                <a:latin typeface="Poppins"/>
                <a:ea typeface="Poppins"/>
                <a:cs typeface="Poppins"/>
                <a:sym typeface="Poppins"/>
              </a:rPr>
              <a:t>ILAC MRA</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esting &amp; Calibration</a:t>
            </a:r>
            <a:endParaRPr sz="1400" b="0" i="0" u="none" strike="noStrike" cap="none">
              <a:solidFill>
                <a:srgbClr val="000000"/>
              </a:solidFill>
              <a:latin typeface="Arial"/>
              <a:ea typeface="Arial"/>
              <a:cs typeface="Arial"/>
              <a:sym typeface="Arial"/>
            </a:endParaRPr>
          </a:p>
        </p:txBody>
      </p:sp>
      <p:sp>
        <p:nvSpPr>
          <p:cNvPr id="1409" name="Google Shape;1409;p25"/>
          <p:cNvSpPr txBox="1"/>
          <p:nvPr/>
        </p:nvSpPr>
        <p:spPr>
          <a:xfrm>
            <a:off x="4861087" y="3887697"/>
            <a:ext cx="1702254"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1 1st Joint IAF - </a:t>
            </a:r>
            <a:r>
              <a:rPr lang="en-US" sz="1200" b="0" i="0" u="none" strike="noStrike" cap="none">
                <a:solidFill>
                  <a:schemeClr val="dk1"/>
                </a:solidFill>
                <a:latin typeface="Poppins"/>
                <a:ea typeface="Poppins"/>
                <a:cs typeface="Poppins"/>
                <a:sym typeface="Poppins"/>
              </a:rPr>
              <a:t>ILAC General Assembly</a:t>
            </a:r>
            <a:endParaRPr sz="1400" b="0" i="0" u="none" strike="noStrike" cap="none">
              <a:solidFill>
                <a:srgbClr val="000000"/>
              </a:solidFill>
              <a:latin typeface="Arial"/>
              <a:ea typeface="Arial"/>
              <a:cs typeface="Arial"/>
              <a:sym typeface="Arial"/>
            </a:endParaRPr>
          </a:p>
        </p:txBody>
      </p:sp>
      <p:sp>
        <p:nvSpPr>
          <p:cNvPr id="1410" name="Google Shape;1410;p25"/>
          <p:cNvSpPr txBox="1"/>
          <p:nvPr/>
        </p:nvSpPr>
        <p:spPr>
          <a:xfrm>
            <a:off x="5806996"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3 -</a:t>
            </a:r>
            <a:r>
              <a:rPr lang="en-US" sz="1200" b="0" i="0" u="none" strike="noStrike" cap="none">
                <a:solidFill>
                  <a:schemeClr val="dk1"/>
                </a:solidFill>
                <a:latin typeface="Poppins"/>
                <a:ea typeface="Poppins"/>
                <a:cs typeface="Poppins"/>
                <a:sym typeface="Poppins"/>
              </a:rPr>
              <a:t> ILAC Incorporated</a:t>
            </a:r>
            <a:endParaRPr sz="1400" b="0" i="0" u="none" strike="noStrike" cap="none">
              <a:solidFill>
                <a:srgbClr val="000000"/>
              </a:solidFill>
              <a:latin typeface="Arial"/>
              <a:ea typeface="Arial"/>
              <a:cs typeface="Arial"/>
              <a:sym typeface="Arial"/>
            </a:endParaRPr>
          </a:p>
        </p:txBody>
      </p:sp>
      <p:sp>
        <p:nvSpPr>
          <p:cNvPr id="1411" name="Google Shape;1411;p25"/>
          <p:cNvSpPr txBox="1"/>
          <p:nvPr/>
        </p:nvSpPr>
        <p:spPr>
          <a:xfrm>
            <a:off x="6572893"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4 - </a:t>
            </a:r>
            <a:r>
              <a:rPr lang="en-US" sz="1200" b="0" i="0" u="none" strike="noStrike" cap="none">
                <a:solidFill>
                  <a:schemeClr val="dk1"/>
                </a:solidFill>
                <a:latin typeface="Poppins"/>
                <a:ea typeface="Poppins"/>
                <a:cs typeface="Poppins"/>
                <a:sym typeface="Poppins"/>
              </a:rPr>
              <a:t>IAF MLA Product</a:t>
            </a:r>
            <a:endParaRPr sz="1400" b="0" i="0" u="none" strike="noStrike" cap="none">
              <a:solidFill>
                <a:srgbClr val="000000"/>
              </a:solidFill>
              <a:latin typeface="Arial"/>
              <a:ea typeface="Arial"/>
              <a:cs typeface="Arial"/>
              <a:sym typeface="Arial"/>
            </a:endParaRPr>
          </a:p>
        </p:txBody>
      </p:sp>
      <p:sp>
        <p:nvSpPr>
          <p:cNvPr id="1412" name="Google Shape;1412;p25"/>
          <p:cNvSpPr txBox="1"/>
          <p:nvPr/>
        </p:nvSpPr>
        <p:spPr>
          <a:xfrm>
            <a:off x="7348040"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7 -</a:t>
            </a:r>
            <a:r>
              <a:rPr lang="en-US" sz="1200" b="0" i="0" u="none" strike="noStrike" cap="none">
                <a:solidFill>
                  <a:schemeClr val="dk1"/>
                </a:solidFill>
                <a:latin typeface="Poppins"/>
                <a:ea typeface="Poppins"/>
                <a:cs typeface="Poppins"/>
                <a:sym typeface="Poppins"/>
              </a:rPr>
              <a:t> IAF MLA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ersons</a:t>
            </a:r>
            <a:endParaRPr sz="1400" b="0" i="0" u="none" strike="noStrike" cap="none">
              <a:solidFill>
                <a:srgbClr val="000000"/>
              </a:solidFill>
              <a:latin typeface="Arial"/>
              <a:ea typeface="Arial"/>
              <a:cs typeface="Arial"/>
              <a:sym typeface="Arial"/>
            </a:endParaRPr>
          </a:p>
        </p:txBody>
      </p:sp>
      <p:sp>
        <p:nvSpPr>
          <p:cNvPr id="1413" name="Google Shape;1413;p25"/>
          <p:cNvSpPr txBox="1"/>
          <p:nvPr/>
        </p:nvSpPr>
        <p:spPr>
          <a:xfrm>
            <a:off x="8108448"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12 -</a:t>
            </a:r>
            <a:r>
              <a:rPr lang="en-US" sz="1200" b="0" i="0" u="none" strike="noStrike" cap="none">
                <a:solidFill>
                  <a:schemeClr val="dk1"/>
                </a:solidFill>
                <a:latin typeface="Poppins"/>
                <a:ea typeface="Poppins"/>
                <a:cs typeface="Poppins"/>
                <a:sym typeface="Poppins"/>
              </a:rPr>
              <a:t> ILAC MRA Inspection</a:t>
            </a:r>
            <a:endParaRPr sz="1400" b="0" i="0" u="none" strike="noStrike" cap="none">
              <a:solidFill>
                <a:srgbClr val="000000"/>
              </a:solidFill>
              <a:latin typeface="Arial"/>
              <a:ea typeface="Arial"/>
              <a:cs typeface="Arial"/>
              <a:sym typeface="Arial"/>
            </a:endParaRPr>
          </a:p>
        </p:txBody>
      </p:sp>
      <p:sp>
        <p:nvSpPr>
          <p:cNvPr id="1414" name="Google Shape;1414;p25"/>
          <p:cNvSpPr txBox="1"/>
          <p:nvPr/>
        </p:nvSpPr>
        <p:spPr>
          <a:xfrm>
            <a:off x="8871975" y="2346260"/>
            <a:ext cx="1349752"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14 -</a:t>
            </a:r>
            <a:r>
              <a:rPr lang="en-US" sz="1200" b="0" i="0" u="none" strike="noStrike" cap="none">
                <a:solidFill>
                  <a:schemeClr val="dk1"/>
                </a:solidFill>
                <a:latin typeface="Poppins"/>
                <a:ea typeface="Poppins"/>
                <a:cs typeface="Poppins"/>
                <a:sym typeface="Poppins"/>
              </a:rPr>
              <a:t> IAF MLA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alidation &amp;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erification</a:t>
            </a:r>
            <a:endParaRPr sz="1400" b="0" i="0" u="none" strike="noStrike" cap="none">
              <a:solidFill>
                <a:srgbClr val="000000"/>
              </a:solidFill>
              <a:latin typeface="Arial"/>
              <a:ea typeface="Arial"/>
              <a:cs typeface="Arial"/>
              <a:sym typeface="Arial"/>
            </a:endParaRPr>
          </a:p>
        </p:txBody>
      </p:sp>
      <p:sp>
        <p:nvSpPr>
          <p:cNvPr id="1415" name="Google Shape;1415;p25"/>
          <p:cNvSpPr txBox="1"/>
          <p:nvPr/>
        </p:nvSpPr>
        <p:spPr>
          <a:xfrm>
            <a:off x="9467752" y="3887697"/>
            <a:ext cx="1695450"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19 -</a:t>
            </a:r>
            <a:r>
              <a:rPr lang="en-US" sz="1200" b="0" i="0" u="none" strike="noStrike" cap="none">
                <a:solidFill>
                  <a:schemeClr val="dk1"/>
                </a:solidFill>
                <a:latin typeface="Poppins"/>
                <a:ea typeface="Poppins"/>
                <a:cs typeface="Poppins"/>
                <a:sym typeface="Poppins"/>
              </a:rPr>
              <a:t> ILAC MRA Proficiency Testing Providers</a:t>
            </a:r>
            <a:endParaRPr sz="1400" b="0" i="0" u="none" strike="noStrike" cap="none">
              <a:solidFill>
                <a:srgbClr val="000000"/>
              </a:solidFill>
              <a:latin typeface="Arial"/>
              <a:ea typeface="Arial"/>
              <a:cs typeface="Arial"/>
              <a:sym typeface="Arial"/>
            </a:endParaRPr>
          </a:p>
        </p:txBody>
      </p:sp>
      <p:sp>
        <p:nvSpPr>
          <p:cNvPr id="1416" name="Google Shape;1416;p25"/>
          <p:cNvSpPr txBox="1"/>
          <p:nvPr/>
        </p:nvSpPr>
        <p:spPr>
          <a:xfrm>
            <a:off x="10413019" y="2346260"/>
            <a:ext cx="1349752"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20 -</a:t>
            </a:r>
            <a:r>
              <a:rPr lang="en-US" sz="1200" b="0" i="0" u="none" strike="noStrike" cap="none">
                <a:solidFill>
                  <a:schemeClr val="dk1"/>
                </a:solidFill>
                <a:latin typeface="Poppins"/>
                <a:ea typeface="Poppins"/>
                <a:cs typeface="Poppins"/>
                <a:sym typeface="Poppins"/>
              </a:rPr>
              <a:t> ILAC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RA Reference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aterial Producer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420"/>
        <p:cNvGrpSpPr/>
        <p:nvPr/>
      </p:nvGrpSpPr>
      <p:grpSpPr>
        <a:xfrm>
          <a:off x="0" y="0"/>
          <a:ext cx="0" cy="0"/>
          <a:chOff x="0" y="0"/>
          <a:chExt cx="0" cy="0"/>
        </a:xfrm>
      </p:grpSpPr>
      <p:sp>
        <p:nvSpPr>
          <p:cNvPr id="1421" name="Google Shape;1421;p26"/>
          <p:cNvSpPr txBox="1"/>
          <p:nvPr/>
        </p:nvSpPr>
        <p:spPr>
          <a:xfrm>
            <a:off x="381000" y="1264177"/>
            <a:ext cx="4771571"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ILAC MULTILATERAL MRAS</a:t>
            </a:r>
            <a:endParaRPr sz="1400" b="0" i="0" u="none" strike="noStrike" cap="none">
              <a:solidFill>
                <a:srgbClr val="000000"/>
              </a:solidFill>
              <a:latin typeface="Arial"/>
              <a:ea typeface="Arial"/>
              <a:cs typeface="Arial"/>
              <a:sym typeface="Arial"/>
            </a:endParaRPr>
          </a:p>
        </p:txBody>
      </p:sp>
      <p:cxnSp>
        <p:nvCxnSpPr>
          <p:cNvPr id="1422" name="Google Shape;1422;p26"/>
          <p:cNvCxnSpPr/>
          <p:nvPr/>
        </p:nvCxnSpPr>
        <p:spPr>
          <a:xfrm>
            <a:off x="495300" y="2303748"/>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423" name="Google Shape;1423;p26"/>
          <p:cNvSpPr txBox="1"/>
          <p:nvPr/>
        </p:nvSpPr>
        <p:spPr>
          <a:xfrm>
            <a:off x="381000" y="3717474"/>
            <a:ext cx="5715000" cy="1477287"/>
          </a:xfrm>
          <a:prstGeom prst="rect">
            <a:avLst/>
          </a:prstGeom>
          <a:noFill/>
          <a:ln>
            <a:noFill/>
          </a:ln>
        </p:spPr>
        <p:txBody>
          <a:bodyPr spcFirstLastPara="1" wrap="square" lIns="91425" tIns="45700" rIns="91425" bIns="45700" anchor="t" anchorCtr="0">
            <a:spAutoFit/>
          </a:bodyPr>
          <a:lstStyle/>
          <a:p>
            <a:pPr marL="171450" marR="0" lvl="0" indent="-171450" algn="l" rtl="0">
              <a:lnSpc>
                <a:spcPct val="15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The structure of the global accreditation system is divided into two levels: the regional level (EA, ARAC, APAC, SADCA, AFRAC and IAAC) and the global level (ILAC and IAF). </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The IAF MLA </a:t>
            </a:r>
            <a:r>
              <a:rPr lang="en-US" sz="1200" b="0" i="0" u="none" strike="noStrike" cap="none" err="1">
                <a:solidFill>
                  <a:schemeClr val="dk1"/>
                </a:solidFill>
                <a:latin typeface="Poppins"/>
                <a:ea typeface="Poppins"/>
                <a:cs typeface="Poppins"/>
                <a:sym typeface="Poppins"/>
              </a:rPr>
              <a:t>recognises</a:t>
            </a:r>
            <a:r>
              <a:rPr lang="en-US" sz="1200" b="0" i="0" u="none" strike="noStrike" cap="none">
                <a:solidFill>
                  <a:schemeClr val="dk1"/>
                </a:solidFill>
                <a:latin typeface="Poppins"/>
                <a:ea typeface="Poppins"/>
                <a:cs typeface="Poppins"/>
                <a:sym typeface="Poppins"/>
              </a:rPr>
              <a:t> AFRAC, APAC, ARAC, EA, IAAC and SADCA.</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The ILAC MRA </a:t>
            </a:r>
            <a:r>
              <a:rPr lang="en-US" sz="1200" b="0" i="0" u="none" strike="noStrike" cap="none" err="1">
                <a:solidFill>
                  <a:schemeClr val="dk1"/>
                </a:solidFill>
                <a:latin typeface="Poppins"/>
                <a:ea typeface="Poppins"/>
                <a:cs typeface="Poppins"/>
                <a:sym typeface="Poppins"/>
              </a:rPr>
              <a:t>recognises</a:t>
            </a:r>
            <a:r>
              <a:rPr lang="en-US" sz="1200" b="0" i="0" u="none" strike="noStrike" cap="none">
                <a:solidFill>
                  <a:schemeClr val="dk1"/>
                </a:solidFill>
                <a:latin typeface="Poppins"/>
                <a:ea typeface="Poppins"/>
                <a:cs typeface="Poppins"/>
                <a:sym typeface="Poppins"/>
              </a:rPr>
              <a:t> AFRAC , APAC, ARAC, EA, IAAC and SADCA.</a:t>
            </a:r>
            <a:endParaRPr sz="1400" b="0" i="0" u="none" strike="noStrike" cap="none">
              <a:solidFill>
                <a:srgbClr val="000000"/>
              </a:solidFill>
              <a:latin typeface="Arial"/>
              <a:ea typeface="Arial"/>
              <a:cs typeface="Arial"/>
              <a:sym typeface="Arial"/>
            </a:endParaRPr>
          </a:p>
        </p:txBody>
      </p:sp>
      <p:sp>
        <p:nvSpPr>
          <p:cNvPr id="1424" name="Google Shape;1424;p26"/>
          <p:cNvSpPr txBox="1"/>
          <p:nvPr/>
        </p:nvSpPr>
        <p:spPr>
          <a:xfrm>
            <a:off x="381000" y="2517145"/>
            <a:ext cx="5588000" cy="12003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 laboratory, inspection body, certification body, proficiency testing provider, reference material producer or validation/verification body accredited by one partner has equivalent competence to a laboratory, inspection body,  certification body, proficiency testing provider, reference material producer or validation/verification body accredited by the other partner(s).</a:t>
            </a:r>
            <a:endParaRPr sz="1400" b="0" i="0" u="none" strike="noStrike" cap="none">
              <a:solidFill>
                <a:srgbClr val="000000"/>
              </a:solidFill>
              <a:latin typeface="Arial"/>
              <a:ea typeface="Arial"/>
              <a:cs typeface="Arial"/>
              <a:sym typeface="Arial"/>
            </a:endParaRPr>
          </a:p>
        </p:txBody>
      </p:sp>
      <p:sp>
        <p:nvSpPr>
          <p:cNvPr id="1425" name="Google Shape;1425;p26"/>
          <p:cNvSpPr/>
          <p:nvPr/>
        </p:nvSpPr>
        <p:spPr>
          <a:xfrm>
            <a:off x="6731454" y="535745"/>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6" name="Google Shape;1426;p26"/>
          <p:cNvSpPr/>
          <p:nvPr/>
        </p:nvSpPr>
        <p:spPr>
          <a:xfrm>
            <a:off x="9583965" y="535745"/>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7" name="Google Shape;1427;p26"/>
          <p:cNvSpPr/>
          <p:nvPr/>
        </p:nvSpPr>
        <p:spPr>
          <a:xfrm>
            <a:off x="6731454" y="2523660"/>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8" name="Google Shape;1428;p26"/>
          <p:cNvSpPr/>
          <p:nvPr/>
        </p:nvSpPr>
        <p:spPr>
          <a:xfrm>
            <a:off x="9583965" y="2523660"/>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9" name="Google Shape;1429;p26"/>
          <p:cNvSpPr/>
          <p:nvPr/>
        </p:nvSpPr>
        <p:spPr>
          <a:xfrm>
            <a:off x="6731454" y="4511576"/>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30" name="Google Shape;1430;p26"/>
          <p:cNvSpPr/>
          <p:nvPr/>
        </p:nvSpPr>
        <p:spPr>
          <a:xfrm>
            <a:off x="9583965" y="4511576"/>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31" name="Google Shape;1431;p26"/>
          <p:cNvSpPr txBox="1"/>
          <p:nvPr/>
        </p:nvSpPr>
        <p:spPr>
          <a:xfrm>
            <a:off x="6557736" y="1768795"/>
            <a:ext cx="2002064"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European Cooperation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for Accreditation (EA)</a:t>
            </a:r>
            <a:endParaRPr sz="1400" b="0" i="0" u="none" strike="noStrike" cap="none">
              <a:solidFill>
                <a:srgbClr val="000000"/>
              </a:solidFill>
              <a:latin typeface="Arial"/>
              <a:ea typeface="Arial"/>
              <a:cs typeface="Arial"/>
              <a:sym typeface="Arial"/>
            </a:endParaRPr>
          </a:p>
        </p:txBody>
      </p:sp>
      <p:sp>
        <p:nvSpPr>
          <p:cNvPr id="1432" name="Google Shape;1432;p26"/>
          <p:cNvSpPr txBox="1"/>
          <p:nvPr/>
        </p:nvSpPr>
        <p:spPr>
          <a:xfrm>
            <a:off x="9323978" y="1768795"/>
            <a:ext cx="2174602"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nter-American  Accreditation Cooperation (IAAC)</a:t>
            </a:r>
            <a:endParaRPr sz="1400" b="0" i="0" u="none" strike="noStrike" cap="none">
              <a:solidFill>
                <a:srgbClr val="000000"/>
              </a:solidFill>
              <a:latin typeface="Arial"/>
              <a:ea typeface="Arial"/>
              <a:cs typeface="Arial"/>
              <a:sym typeface="Arial"/>
            </a:endParaRPr>
          </a:p>
        </p:txBody>
      </p:sp>
      <p:sp>
        <p:nvSpPr>
          <p:cNvPr id="1433" name="Google Shape;1433;p26"/>
          <p:cNvSpPr txBox="1"/>
          <p:nvPr/>
        </p:nvSpPr>
        <p:spPr>
          <a:xfrm>
            <a:off x="6306911" y="3778228"/>
            <a:ext cx="2503714"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sia Pacific</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ccreditation Cooperation</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PAC)</a:t>
            </a:r>
            <a:endParaRPr sz="1400" b="0" i="0" u="none" strike="noStrike" cap="none">
              <a:solidFill>
                <a:srgbClr val="000000"/>
              </a:solidFill>
              <a:latin typeface="Arial"/>
              <a:ea typeface="Arial"/>
              <a:cs typeface="Arial"/>
              <a:sym typeface="Arial"/>
            </a:endParaRPr>
          </a:p>
        </p:txBody>
      </p:sp>
      <p:sp>
        <p:nvSpPr>
          <p:cNvPr id="1434" name="Google Shape;1434;p26"/>
          <p:cNvSpPr txBox="1"/>
          <p:nvPr/>
        </p:nvSpPr>
        <p:spPr>
          <a:xfrm>
            <a:off x="9021536" y="3778228"/>
            <a:ext cx="2922814"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Southern African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Development Community  Cooperation in Accreditation (SADCA)</a:t>
            </a:r>
            <a:endParaRPr sz="1400" b="0" i="0" u="none" strike="noStrike" cap="none">
              <a:solidFill>
                <a:srgbClr val="000000"/>
              </a:solidFill>
              <a:latin typeface="Arial"/>
              <a:ea typeface="Arial"/>
              <a:cs typeface="Arial"/>
              <a:sym typeface="Arial"/>
            </a:endParaRPr>
          </a:p>
        </p:txBody>
      </p:sp>
      <p:sp>
        <p:nvSpPr>
          <p:cNvPr id="1435" name="Google Shape;1435;p26"/>
          <p:cNvSpPr txBox="1"/>
          <p:nvPr/>
        </p:nvSpPr>
        <p:spPr>
          <a:xfrm>
            <a:off x="6306911" y="5760164"/>
            <a:ext cx="2503714"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frican Accreditation Cooperation (AFRAC)</a:t>
            </a:r>
            <a:endParaRPr sz="1400" b="0" i="0" u="none" strike="noStrike" cap="none">
              <a:solidFill>
                <a:srgbClr val="000000"/>
              </a:solidFill>
              <a:latin typeface="Arial"/>
              <a:ea typeface="Arial"/>
              <a:cs typeface="Arial"/>
              <a:sym typeface="Arial"/>
            </a:endParaRPr>
          </a:p>
        </p:txBody>
      </p:sp>
      <p:sp>
        <p:nvSpPr>
          <p:cNvPr id="1436" name="Google Shape;1436;p26"/>
          <p:cNvSpPr txBox="1"/>
          <p:nvPr/>
        </p:nvSpPr>
        <p:spPr>
          <a:xfrm>
            <a:off x="9240158" y="5760164"/>
            <a:ext cx="2342242"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rab Accreditation Cooperation (ARAC)</a:t>
            </a:r>
            <a:endParaRPr sz="1400" b="0" i="0" u="none" strike="noStrike" cap="none">
              <a:solidFill>
                <a:srgbClr val="000000"/>
              </a:solidFill>
              <a:latin typeface="Arial"/>
              <a:ea typeface="Arial"/>
              <a:cs typeface="Arial"/>
              <a:sym typeface="Arial"/>
            </a:endParaRPr>
          </a:p>
        </p:txBody>
      </p:sp>
      <p:pic>
        <p:nvPicPr>
          <p:cNvPr id="1437" name="Google Shape;1437;p26" descr="http://infoxpert/docs/13.01%20ILAC/Administration/AB%20Logos/AB%20logos%20for%20new%20website/EA_Logo_complet%20bloc_Couleur.jpg"/>
          <p:cNvPicPr preferRelativeResize="0"/>
          <p:nvPr/>
        </p:nvPicPr>
        <p:blipFill rotWithShape="1">
          <a:blip r:embed="rId3">
            <a:alphaModFix/>
          </a:blip>
          <a:srcRect/>
          <a:stretch/>
        </p:blipFill>
        <p:spPr>
          <a:xfrm>
            <a:off x="7200623" y="842738"/>
            <a:ext cx="716290" cy="553566"/>
          </a:xfrm>
          <a:prstGeom prst="rect">
            <a:avLst/>
          </a:prstGeom>
          <a:noFill/>
          <a:ln>
            <a:noFill/>
          </a:ln>
        </p:spPr>
      </p:pic>
      <p:pic>
        <p:nvPicPr>
          <p:cNvPr id="1438" name="Google Shape;1438;p26"/>
          <p:cNvPicPr preferRelativeResize="0"/>
          <p:nvPr/>
        </p:nvPicPr>
        <p:blipFill rotWithShape="1">
          <a:blip r:embed="rId4">
            <a:alphaModFix/>
          </a:blip>
          <a:srcRect/>
          <a:stretch/>
        </p:blipFill>
        <p:spPr>
          <a:xfrm>
            <a:off x="7049860" y="2902326"/>
            <a:ext cx="1017816" cy="410220"/>
          </a:xfrm>
          <a:prstGeom prst="rect">
            <a:avLst/>
          </a:prstGeom>
          <a:noFill/>
          <a:ln>
            <a:noFill/>
          </a:ln>
        </p:spPr>
      </p:pic>
      <p:pic>
        <p:nvPicPr>
          <p:cNvPr id="1439" name="Google Shape;1439;p26"/>
          <p:cNvPicPr preferRelativeResize="0"/>
          <p:nvPr/>
        </p:nvPicPr>
        <p:blipFill rotWithShape="1">
          <a:blip r:embed="rId5">
            <a:alphaModFix/>
          </a:blip>
          <a:srcRect/>
          <a:stretch/>
        </p:blipFill>
        <p:spPr>
          <a:xfrm>
            <a:off x="10024500" y="2771312"/>
            <a:ext cx="773559" cy="672249"/>
          </a:xfrm>
          <a:prstGeom prst="rect">
            <a:avLst/>
          </a:prstGeom>
          <a:noFill/>
          <a:ln>
            <a:noFill/>
          </a:ln>
        </p:spPr>
      </p:pic>
      <p:pic>
        <p:nvPicPr>
          <p:cNvPr id="1440" name="Google Shape;1440;p26"/>
          <p:cNvPicPr preferRelativeResize="0"/>
          <p:nvPr/>
        </p:nvPicPr>
        <p:blipFill rotWithShape="1">
          <a:blip r:embed="rId6">
            <a:alphaModFix/>
          </a:blip>
          <a:srcRect/>
          <a:stretch/>
        </p:blipFill>
        <p:spPr>
          <a:xfrm>
            <a:off x="6936535" y="4849936"/>
            <a:ext cx="1244466" cy="490832"/>
          </a:xfrm>
          <a:prstGeom prst="rect">
            <a:avLst/>
          </a:prstGeom>
          <a:noFill/>
          <a:ln>
            <a:noFill/>
          </a:ln>
        </p:spPr>
      </p:pic>
      <p:pic>
        <p:nvPicPr>
          <p:cNvPr id="1441" name="Google Shape;1441;p26"/>
          <p:cNvPicPr preferRelativeResize="0"/>
          <p:nvPr/>
        </p:nvPicPr>
        <p:blipFill rotWithShape="1">
          <a:blip r:embed="rId7">
            <a:alphaModFix/>
          </a:blip>
          <a:srcRect/>
          <a:stretch/>
        </p:blipFill>
        <p:spPr>
          <a:xfrm>
            <a:off x="10015684" y="4773884"/>
            <a:ext cx="791190" cy="642937"/>
          </a:xfrm>
          <a:prstGeom prst="rect">
            <a:avLst/>
          </a:prstGeom>
          <a:noFill/>
          <a:ln>
            <a:noFill/>
          </a:ln>
        </p:spPr>
      </p:pic>
      <p:pic>
        <p:nvPicPr>
          <p:cNvPr id="1442" name="Google Shape;1442;p26"/>
          <p:cNvPicPr preferRelativeResize="0"/>
          <p:nvPr/>
        </p:nvPicPr>
        <p:blipFill rotWithShape="1">
          <a:blip r:embed="rId8">
            <a:alphaModFix/>
          </a:blip>
          <a:srcRect/>
          <a:stretch/>
        </p:blipFill>
        <p:spPr>
          <a:xfrm>
            <a:off x="9755517" y="909439"/>
            <a:ext cx="1154112" cy="464898"/>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446"/>
        <p:cNvGrpSpPr/>
        <p:nvPr/>
      </p:nvGrpSpPr>
      <p:grpSpPr>
        <a:xfrm>
          <a:off x="0" y="0"/>
          <a:ext cx="0" cy="0"/>
          <a:chOff x="0" y="0"/>
          <a:chExt cx="0" cy="0"/>
        </a:xfrm>
      </p:grpSpPr>
      <p:sp>
        <p:nvSpPr>
          <p:cNvPr id="1447" name="Google Shape;1447;p27"/>
          <p:cNvSpPr txBox="1"/>
          <p:nvPr/>
        </p:nvSpPr>
        <p:spPr>
          <a:xfrm>
            <a:off x="316538" y="3246731"/>
            <a:ext cx="3646216" cy="830997"/>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LAC and IAF rely on the evaluations undertaken by the recognised regions to grant and maintain signatory status for the accreditation bodies. </a:t>
            </a:r>
            <a:endParaRPr sz="1400" b="0" i="0" u="none" strike="noStrike" cap="none">
              <a:solidFill>
                <a:srgbClr val="000000"/>
              </a:solidFill>
              <a:latin typeface="Arial"/>
              <a:ea typeface="Arial"/>
              <a:cs typeface="Arial"/>
              <a:sym typeface="Arial"/>
            </a:endParaRPr>
          </a:p>
        </p:txBody>
      </p:sp>
      <p:sp>
        <p:nvSpPr>
          <p:cNvPr id="1448" name="Google Shape;1448;p27"/>
          <p:cNvSpPr txBox="1"/>
          <p:nvPr/>
        </p:nvSpPr>
        <p:spPr>
          <a:xfrm>
            <a:off x="430479" y="5507246"/>
            <a:ext cx="4268032" cy="461665"/>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cognition of a region is achieved after successful peer evaluation by ILAC or IAF. </a:t>
            </a:r>
            <a:endParaRPr sz="1400" b="0" i="0" u="none" strike="noStrike" cap="none">
              <a:solidFill>
                <a:srgbClr val="000000"/>
              </a:solidFill>
              <a:latin typeface="Arial"/>
              <a:ea typeface="Arial"/>
              <a:cs typeface="Arial"/>
              <a:sym typeface="Arial"/>
            </a:endParaRPr>
          </a:p>
        </p:txBody>
      </p:sp>
      <p:grpSp>
        <p:nvGrpSpPr>
          <p:cNvPr id="1449" name="Google Shape;1449;p27"/>
          <p:cNvGrpSpPr/>
          <p:nvPr/>
        </p:nvGrpSpPr>
        <p:grpSpPr>
          <a:xfrm>
            <a:off x="5539644" y="3692211"/>
            <a:ext cx="2222819" cy="1581261"/>
            <a:chOff x="5539644" y="3451398"/>
            <a:chExt cx="2222819" cy="1581261"/>
          </a:xfrm>
        </p:grpSpPr>
        <p:sp>
          <p:nvSpPr>
            <p:cNvPr id="1450" name="Google Shape;1450;p27"/>
            <p:cNvSpPr/>
            <p:nvPr/>
          </p:nvSpPr>
          <p:spPr>
            <a:xfrm>
              <a:off x="5567461" y="3451398"/>
              <a:ext cx="2195002" cy="1581261"/>
            </a:xfrm>
            <a:custGeom>
              <a:avLst/>
              <a:gdLst/>
              <a:ahLst/>
              <a:cxnLst/>
              <a:rect l="l" t="t" r="r" b="b"/>
              <a:pathLst>
                <a:path w="2195002" h="1581261" extrusionOk="0">
                  <a:moveTo>
                    <a:pt x="672366" y="1581262"/>
                  </a:moveTo>
                  <a:cubicBezTo>
                    <a:pt x="433860" y="1581262"/>
                    <a:pt x="201641" y="1496489"/>
                    <a:pt x="5902" y="1332850"/>
                  </a:cubicBezTo>
                  <a:cubicBezTo>
                    <a:pt x="-1051" y="1327039"/>
                    <a:pt x="-2004" y="1316657"/>
                    <a:pt x="3807" y="1309704"/>
                  </a:cubicBezTo>
                  <a:cubicBezTo>
                    <a:pt x="9617" y="1302751"/>
                    <a:pt x="19999" y="1301798"/>
                    <a:pt x="26952" y="1307608"/>
                  </a:cubicBezTo>
                  <a:cubicBezTo>
                    <a:pt x="303177" y="1538494"/>
                    <a:pt x="654174" y="1607360"/>
                    <a:pt x="990025" y="1496394"/>
                  </a:cubicBezTo>
                  <a:cubicBezTo>
                    <a:pt x="1251867" y="1409907"/>
                    <a:pt x="1478848" y="1221502"/>
                    <a:pt x="1612675" y="979663"/>
                  </a:cubicBezTo>
                  <a:cubicBezTo>
                    <a:pt x="1750787" y="730108"/>
                    <a:pt x="1779743" y="450358"/>
                    <a:pt x="1694399" y="192136"/>
                  </a:cubicBezTo>
                  <a:cubicBezTo>
                    <a:pt x="1691637" y="183658"/>
                    <a:pt x="1696018" y="174610"/>
                    <a:pt x="1704400" y="171562"/>
                  </a:cubicBezTo>
                  <a:lnTo>
                    <a:pt x="2172935" y="969"/>
                  </a:lnTo>
                  <a:cubicBezTo>
                    <a:pt x="2181508" y="-2079"/>
                    <a:pt x="2190937" y="2302"/>
                    <a:pt x="2193985" y="10780"/>
                  </a:cubicBezTo>
                  <a:cubicBezTo>
                    <a:pt x="2197128" y="19352"/>
                    <a:pt x="2192747" y="28782"/>
                    <a:pt x="2184175" y="31830"/>
                  </a:cubicBezTo>
                  <a:lnTo>
                    <a:pt x="1730594" y="196993"/>
                  </a:lnTo>
                  <a:cubicBezTo>
                    <a:pt x="1812795" y="459883"/>
                    <a:pt x="1781362" y="742776"/>
                    <a:pt x="1641535" y="995569"/>
                  </a:cubicBezTo>
                  <a:cubicBezTo>
                    <a:pt x="1503708" y="1244648"/>
                    <a:pt x="1270060" y="1438577"/>
                    <a:pt x="1000407" y="1527636"/>
                  </a:cubicBezTo>
                  <a:cubicBezTo>
                    <a:pt x="891632" y="1563640"/>
                    <a:pt x="781332" y="1581262"/>
                    <a:pt x="672366" y="158126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51" name="Google Shape;1451;p27"/>
            <p:cNvSpPr/>
            <p:nvPr/>
          </p:nvSpPr>
          <p:spPr>
            <a:xfrm>
              <a:off x="5539644" y="4704333"/>
              <a:ext cx="109537" cy="109537"/>
            </a:xfrm>
            <a:custGeom>
              <a:avLst/>
              <a:gdLst/>
              <a:ahLst/>
              <a:cxnLst/>
              <a:rect l="l" t="t" r="r" b="b"/>
              <a:pathLst>
                <a:path w="109537" h="109537" extrusionOk="0">
                  <a:moveTo>
                    <a:pt x="109538" y="54769"/>
                  </a:moveTo>
                  <a:cubicBezTo>
                    <a:pt x="109538" y="84963"/>
                    <a:pt x="85058" y="109538"/>
                    <a:pt x="54769" y="109538"/>
                  </a:cubicBezTo>
                  <a:cubicBezTo>
                    <a:pt x="24575" y="109538"/>
                    <a:pt x="0" y="85058"/>
                    <a:pt x="0" y="54769"/>
                  </a:cubicBezTo>
                  <a:cubicBezTo>
                    <a:pt x="0" y="24479"/>
                    <a:pt x="24479" y="0"/>
                    <a:pt x="54769" y="0"/>
                  </a:cubicBezTo>
                  <a:cubicBezTo>
                    <a:pt x="85058" y="0"/>
                    <a:pt x="109538" y="24479"/>
                    <a:pt x="109538" y="5476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52" name="Google Shape;1452;p27"/>
          <p:cNvGrpSpPr/>
          <p:nvPr/>
        </p:nvGrpSpPr>
        <p:grpSpPr>
          <a:xfrm>
            <a:off x="6077521" y="2511794"/>
            <a:ext cx="1081944" cy="2516831"/>
            <a:chOff x="6077521" y="2270981"/>
            <a:chExt cx="1081944" cy="2516831"/>
          </a:xfrm>
        </p:grpSpPr>
        <p:sp>
          <p:nvSpPr>
            <p:cNvPr id="1453" name="Google Shape;1453;p27"/>
            <p:cNvSpPr/>
            <p:nvPr/>
          </p:nvSpPr>
          <p:spPr>
            <a:xfrm>
              <a:off x="6077521" y="2270981"/>
              <a:ext cx="1081944" cy="2469832"/>
            </a:xfrm>
            <a:custGeom>
              <a:avLst/>
              <a:gdLst/>
              <a:ahLst/>
              <a:cxnLst/>
              <a:rect l="l" t="t" r="r" b="b"/>
              <a:pathLst>
                <a:path w="1081944" h="2469832" extrusionOk="0">
                  <a:moveTo>
                    <a:pt x="568738" y="2469833"/>
                  </a:moveTo>
                  <a:cubicBezTo>
                    <a:pt x="563213" y="2469833"/>
                    <a:pt x="557879" y="2467070"/>
                    <a:pt x="554736" y="2462022"/>
                  </a:cubicBezTo>
                  <a:cubicBezTo>
                    <a:pt x="549973" y="2454307"/>
                    <a:pt x="552355" y="2444115"/>
                    <a:pt x="560070" y="2439353"/>
                  </a:cubicBezTo>
                  <a:cubicBezTo>
                    <a:pt x="879920" y="2240852"/>
                    <a:pt x="1048988" y="1953863"/>
                    <a:pt x="1048988" y="1609344"/>
                  </a:cubicBezTo>
                  <a:cubicBezTo>
                    <a:pt x="1048988" y="1332929"/>
                    <a:pt x="938594" y="1053465"/>
                    <a:pt x="746093" y="842677"/>
                  </a:cubicBezTo>
                  <a:cubicBezTo>
                    <a:pt x="547116" y="624840"/>
                    <a:pt x="287941" y="504825"/>
                    <a:pt x="16478" y="504825"/>
                  </a:cubicBezTo>
                  <a:cubicBezTo>
                    <a:pt x="7429" y="504825"/>
                    <a:pt x="0" y="497491"/>
                    <a:pt x="0" y="488347"/>
                  </a:cubicBezTo>
                  <a:lnTo>
                    <a:pt x="0" y="16478"/>
                  </a:lnTo>
                  <a:cubicBezTo>
                    <a:pt x="0" y="7429"/>
                    <a:pt x="7334" y="0"/>
                    <a:pt x="16478" y="0"/>
                  </a:cubicBezTo>
                  <a:cubicBezTo>
                    <a:pt x="25527" y="0"/>
                    <a:pt x="32957" y="7334"/>
                    <a:pt x="32957" y="16478"/>
                  </a:cubicBezTo>
                  <a:lnTo>
                    <a:pt x="32957" y="472154"/>
                  </a:lnTo>
                  <a:cubicBezTo>
                    <a:pt x="307753" y="476917"/>
                    <a:pt x="569119" y="600170"/>
                    <a:pt x="770382" y="820579"/>
                  </a:cubicBezTo>
                  <a:cubicBezTo>
                    <a:pt x="968407" y="1037368"/>
                    <a:pt x="1081945" y="1324832"/>
                    <a:pt x="1081945" y="1609439"/>
                  </a:cubicBezTo>
                  <a:cubicBezTo>
                    <a:pt x="1081945" y="1965865"/>
                    <a:pt x="907542" y="2262569"/>
                    <a:pt x="577501" y="2467356"/>
                  </a:cubicBezTo>
                  <a:cubicBezTo>
                    <a:pt x="574738" y="2468975"/>
                    <a:pt x="571786" y="2469833"/>
                    <a:pt x="568738" y="246983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54" name="Google Shape;1454;p27"/>
            <p:cNvSpPr/>
            <p:nvPr/>
          </p:nvSpPr>
          <p:spPr>
            <a:xfrm>
              <a:off x="6577639" y="4678290"/>
              <a:ext cx="109426" cy="109522"/>
            </a:xfrm>
            <a:custGeom>
              <a:avLst/>
              <a:gdLst/>
              <a:ahLst/>
              <a:cxnLst/>
              <a:rect l="l" t="t" r="r" b="b"/>
              <a:pathLst>
                <a:path w="109426" h="109522" extrusionOk="0">
                  <a:moveTo>
                    <a:pt x="109387" y="52713"/>
                  </a:moveTo>
                  <a:cubicBezTo>
                    <a:pt x="110530" y="82907"/>
                    <a:pt x="86908" y="108339"/>
                    <a:pt x="56713" y="109482"/>
                  </a:cubicBezTo>
                  <a:cubicBezTo>
                    <a:pt x="26519" y="110625"/>
                    <a:pt x="1087" y="87003"/>
                    <a:pt x="40" y="56809"/>
                  </a:cubicBezTo>
                  <a:cubicBezTo>
                    <a:pt x="-1103" y="26615"/>
                    <a:pt x="22519" y="1183"/>
                    <a:pt x="52713" y="40"/>
                  </a:cubicBezTo>
                  <a:cubicBezTo>
                    <a:pt x="82907" y="-1103"/>
                    <a:pt x="108244" y="22519"/>
                    <a:pt x="109387" y="5271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55" name="Google Shape;1455;p27"/>
          <p:cNvGrpSpPr/>
          <p:nvPr/>
        </p:nvGrpSpPr>
        <p:grpSpPr>
          <a:xfrm>
            <a:off x="4423882" y="3135119"/>
            <a:ext cx="2585279" cy="885530"/>
            <a:chOff x="4423882" y="2894306"/>
            <a:chExt cx="2585279" cy="885530"/>
          </a:xfrm>
        </p:grpSpPr>
        <p:sp>
          <p:nvSpPr>
            <p:cNvPr id="1456" name="Google Shape;1456;p27"/>
            <p:cNvSpPr/>
            <p:nvPr/>
          </p:nvSpPr>
          <p:spPr>
            <a:xfrm>
              <a:off x="4423882" y="2894306"/>
              <a:ext cx="2542998" cy="831238"/>
            </a:xfrm>
            <a:custGeom>
              <a:avLst/>
              <a:gdLst/>
              <a:ahLst/>
              <a:cxnLst/>
              <a:rect l="l" t="t" r="r" b="b"/>
              <a:pathLst>
                <a:path w="2542998" h="831238" extrusionOk="0">
                  <a:moveTo>
                    <a:pt x="2526606" y="831238"/>
                  </a:moveTo>
                  <a:cubicBezTo>
                    <a:pt x="2519176" y="831238"/>
                    <a:pt x="2512509" y="826190"/>
                    <a:pt x="2510699" y="818761"/>
                  </a:cubicBezTo>
                  <a:cubicBezTo>
                    <a:pt x="2421736" y="458334"/>
                    <a:pt x="2181039" y="190206"/>
                    <a:pt x="1850140" y="83050"/>
                  </a:cubicBezTo>
                  <a:cubicBezTo>
                    <a:pt x="1589727" y="-1342"/>
                    <a:pt x="1293690" y="21518"/>
                    <a:pt x="1038039" y="145819"/>
                  </a:cubicBezTo>
                  <a:cubicBezTo>
                    <a:pt x="776577" y="272978"/>
                    <a:pt x="585982" y="486529"/>
                    <a:pt x="501591" y="747037"/>
                  </a:cubicBezTo>
                  <a:cubicBezTo>
                    <a:pt x="500257" y="751228"/>
                    <a:pt x="497209" y="754753"/>
                    <a:pt x="493209" y="756753"/>
                  </a:cubicBezTo>
                  <a:cubicBezTo>
                    <a:pt x="489208" y="758753"/>
                    <a:pt x="484636" y="759039"/>
                    <a:pt x="480445" y="757515"/>
                  </a:cubicBezTo>
                  <a:lnTo>
                    <a:pt x="10958" y="589875"/>
                  </a:lnTo>
                  <a:cubicBezTo>
                    <a:pt x="2385" y="586827"/>
                    <a:pt x="-2091" y="577397"/>
                    <a:pt x="957" y="568825"/>
                  </a:cubicBezTo>
                  <a:cubicBezTo>
                    <a:pt x="4005" y="560252"/>
                    <a:pt x="13434" y="555775"/>
                    <a:pt x="22007" y="558823"/>
                  </a:cubicBezTo>
                  <a:lnTo>
                    <a:pt x="475683" y="720844"/>
                  </a:lnTo>
                  <a:cubicBezTo>
                    <a:pt x="565408" y="459001"/>
                    <a:pt x="759432" y="244689"/>
                    <a:pt x="1023656" y="116197"/>
                  </a:cubicBezTo>
                  <a:cubicBezTo>
                    <a:pt x="1286832" y="-11724"/>
                    <a:pt x="1591822" y="-35251"/>
                    <a:pt x="1860237" y="51712"/>
                  </a:cubicBezTo>
                  <a:cubicBezTo>
                    <a:pt x="2202089" y="162488"/>
                    <a:pt x="2450787" y="439189"/>
                    <a:pt x="2542513" y="810855"/>
                  </a:cubicBezTo>
                  <a:cubicBezTo>
                    <a:pt x="2544703" y="819713"/>
                    <a:pt x="2539274" y="828571"/>
                    <a:pt x="2530511" y="830762"/>
                  </a:cubicBezTo>
                  <a:cubicBezTo>
                    <a:pt x="2529178" y="831048"/>
                    <a:pt x="2527939" y="831238"/>
                    <a:pt x="2526606" y="8312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57" name="Google Shape;1457;p27"/>
            <p:cNvSpPr/>
            <p:nvPr/>
          </p:nvSpPr>
          <p:spPr>
            <a:xfrm>
              <a:off x="6899624" y="3670299"/>
              <a:ext cx="109537" cy="109537"/>
            </a:xfrm>
            <a:custGeom>
              <a:avLst/>
              <a:gdLst/>
              <a:ahLst/>
              <a:cxnLst/>
              <a:rect l="l" t="t" r="r" b="b"/>
              <a:pathLst>
                <a:path w="109537" h="109537" extrusionOk="0">
                  <a:moveTo>
                    <a:pt x="109538" y="54769"/>
                  </a:moveTo>
                  <a:cubicBezTo>
                    <a:pt x="109538" y="85058"/>
                    <a:pt x="85058" y="109538"/>
                    <a:pt x="54769" y="109538"/>
                  </a:cubicBezTo>
                  <a:cubicBezTo>
                    <a:pt x="24575" y="109538"/>
                    <a:pt x="0" y="85058"/>
                    <a:pt x="0" y="54769"/>
                  </a:cubicBezTo>
                  <a:cubicBezTo>
                    <a:pt x="0" y="24575"/>
                    <a:pt x="24479" y="0"/>
                    <a:pt x="54769" y="0"/>
                  </a:cubicBezTo>
                  <a:cubicBezTo>
                    <a:pt x="85058" y="0"/>
                    <a:pt x="109538" y="24575"/>
                    <a:pt x="109538" y="5476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58" name="Google Shape;1458;p27"/>
          <p:cNvGrpSpPr/>
          <p:nvPr/>
        </p:nvGrpSpPr>
        <p:grpSpPr>
          <a:xfrm>
            <a:off x="4953707" y="3298750"/>
            <a:ext cx="1227731" cy="2367248"/>
            <a:chOff x="4953707" y="3057937"/>
            <a:chExt cx="1227731" cy="2367248"/>
          </a:xfrm>
        </p:grpSpPr>
        <p:sp>
          <p:nvSpPr>
            <p:cNvPr id="1459" name="Google Shape;1459;p27"/>
            <p:cNvSpPr/>
            <p:nvPr/>
          </p:nvSpPr>
          <p:spPr>
            <a:xfrm>
              <a:off x="4953707" y="3090116"/>
              <a:ext cx="1173022" cy="2335069"/>
            </a:xfrm>
            <a:custGeom>
              <a:avLst/>
              <a:gdLst/>
              <a:ahLst/>
              <a:cxnLst/>
              <a:rect l="l" t="t" r="r" b="b"/>
              <a:pathLst>
                <a:path w="1173022" h="2335069" extrusionOk="0">
                  <a:moveTo>
                    <a:pt x="112450" y="2335069"/>
                  </a:moveTo>
                  <a:cubicBezTo>
                    <a:pt x="108545" y="2335069"/>
                    <a:pt x="104639" y="2333736"/>
                    <a:pt x="101496" y="2330878"/>
                  </a:cubicBezTo>
                  <a:cubicBezTo>
                    <a:pt x="94733" y="2324783"/>
                    <a:pt x="94162" y="2314400"/>
                    <a:pt x="100163" y="2307637"/>
                  </a:cubicBezTo>
                  <a:lnTo>
                    <a:pt x="413726" y="1957022"/>
                  </a:lnTo>
                  <a:cubicBezTo>
                    <a:pt x="197413" y="1789001"/>
                    <a:pt x="51014" y="1525540"/>
                    <a:pt x="11009" y="1230932"/>
                  </a:cubicBezTo>
                  <a:cubicBezTo>
                    <a:pt x="-29663" y="931275"/>
                    <a:pt x="43489" y="630095"/>
                    <a:pt x="211796" y="404733"/>
                  </a:cubicBezTo>
                  <a:cubicBezTo>
                    <a:pt x="426489" y="117173"/>
                    <a:pt x="771389" y="-28655"/>
                    <a:pt x="1158009" y="4683"/>
                  </a:cubicBezTo>
                  <a:cubicBezTo>
                    <a:pt x="1167058" y="5445"/>
                    <a:pt x="1173725" y="13446"/>
                    <a:pt x="1172963" y="22495"/>
                  </a:cubicBezTo>
                  <a:cubicBezTo>
                    <a:pt x="1172201" y="31543"/>
                    <a:pt x="1164105" y="38116"/>
                    <a:pt x="1155152" y="37449"/>
                  </a:cubicBezTo>
                  <a:cubicBezTo>
                    <a:pt x="780152" y="5159"/>
                    <a:pt x="445920" y="146129"/>
                    <a:pt x="238085" y="424450"/>
                  </a:cubicBezTo>
                  <a:cubicBezTo>
                    <a:pt x="74921" y="642953"/>
                    <a:pt x="4055" y="935275"/>
                    <a:pt x="43584" y="1226550"/>
                  </a:cubicBezTo>
                  <a:cubicBezTo>
                    <a:pt x="83303" y="1518872"/>
                    <a:pt x="230560" y="1779476"/>
                    <a:pt x="447635" y="1941497"/>
                  </a:cubicBezTo>
                  <a:cubicBezTo>
                    <a:pt x="451349" y="1944259"/>
                    <a:pt x="453731" y="1948450"/>
                    <a:pt x="454112" y="1953022"/>
                  </a:cubicBezTo>
                  <a:cubicBezTo>
                    <a:pt x="454588" y="1957594"/>
                    <a:pt x="453064" y="1962166"/>
                    <a:pt x="450016" y="1965595"/>
                  </a:cubicBezTo>
                  <a:lnTo>
                    <a:pt x="124547" y="2329545"/>
                  </a:lnTo>
                  <a:cubicBezTo>
                    <a:pt x="121403" y="2333260"/>
                    <a:pt x="116927" y="2335069"/>
                    <a:pt x="112450" y="233506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0" name="Google Shape;1460;p27"/>
            <p:cNvSpPr/>
            <p:nvPr/>
          </p:nvSpPr>
          <p:spPr>
            <a:xfrm>
              <a:off x="6071901" y="3057937"/>
              <a:ext cx="109537" cy="109537"/>
            </a:xfrm>
            <a:custGeom>
              <a:avLst/>
              <a:gdLst/>
              <a:ahLst/>
              <a:cxnLst/>
              <a:rect l="l" t="t" r="r" b="b"/>
              <a:pathLst>
                <a:path w="109537" h="109537" extrusionOk="0">
                  <a:moveTo>
                    <a:pt x="109538" y="54769"/>
                  </a:moveTo>
                  <a:cubicBezTo>
                    <a:pt x="109538" y="84963"/>
                    <a:pt x="85058" y="109538"/>
                    <a:pt x="54769" y="109538"/>
                  </a:cubicBezTo>
                  <a:cubicBezTo>
                    <a:pt x="24575" y="109538"/>
                    <a:pt x="0" y="85058"/>
                    <a:pt x="0" y="54769"/>
                  </a:cubicBezTo>
                  <a:cubicBezTo>
                    <a:pt x="0" y="24479"/>
                    <a:pt x="24479" y="0"/>
                    <a:pt x="54769" y="0"/>
                  </a:cubicBezTo>
                  <a:cubicBezTo>
                    <a:pt x="85058" y="0"/>
                    <a:pt x="109538" y="24479"/>
                    <a:pt x="109538" y="5476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61" name="Google Shape;1461;p27"/>
          <p:cNvGrpSpPr/>
          <p:nvPr/>
        </p:nvGrpSpPr>
        <p:grpSpPr>
          <a:xfrm>
            <a:off x="5129827" y="3919970"/>
            <a:ext cx="2004369" cy="1748313"/>
            <a:chOff x="5129827" y="3679157"/>
            <a:chExt cx="2004369" cy="1748313"/>
          </a:xfrm>
        </p:grpSpPr>
        <p:sp>
          <p:nvSpPr>
            <p:cNvPr id="1462" name="Google Shape;1462;p27"/>
            <p:cNvSpPr/>
            <p:nvPr/>
          </p:nvSpPr>
          <p:spPr>
            <a:xfrm>
              <a:off x="5129827" y="3711281"/>
              <a:ext cx="2004369" cy="1716189"/>
            </a:xfrm>
            <a:custGeom>
              <a:avLst/>
              <a:gdLst/>
              <a:ahLst/>
              <a:cxnLst/>
              <a:rect l="l" t="t" r="r" b="b"/>
              <a:pathLst>
                <a:path w="2004369" h="1716189" extrusionOk="0">
                  <a:moveTo>
                    <a:pt x="1987919" y="1716190"/>
                  </a:moveTo>
                  <a:cubicBezTo>
                    <a:pt x="1982680" y="1716190"/>
                    <a:pt x="1977632" y="1713713"/>
                    <a:pt x="1974393" y="1709141"/>
                  </a:cubicBezTo>
                  <a:lnTo>
                    <a:pt x="1711599" y="1331094"/>
                  </a:lnTo>
                  <a:cubicBezTo>
                    <a:pt x="1248017" y="1656182"/>
                    <a:pt x="540595" y="1522356"/>
                    <a:pt x="188837" y="1039534"/>
                  </a:cubicBezTo>
                  <a:cubicBezTo>
                    <a:pt x="-20142" y="752641"/>
                    <a:pt x="-58146" y="367831"/>
                    <a:pt x="87205" y="10262"/>
                  </a:cubicBezTo>
                  <a:cubicBezTo>
                    <a:pt x="90634" y="1880"/>
                    <a:pt x="100254" y="-2216"/>
                    <a:pt x="108636" y="1213"/>
                  </a:cubicBezTo>
                  <a:cubicBezTo>
                    <a:pt x="117018" y="4642"/>
                    <a:pt x="121114" y="14263"/>
                    <a:pt x="117685" y="22645"/>
                  </a:cubicBezTo>
                  <a:cubicBezTo>
                    <a:pt x="-23285" y="369640"/>
                    <a:pt x="13291" y="742544"/>
                    <a:pt x="215507" y="1020198"/>
                  </a:cubicBezTo>
                  <a:cubicBezTo>
                    <a:pt x="430581" y="1315473"/>
                    <a:pt x="782530" y="1476445"/>
                    <a:pt x="1125811" y="1476445"/>
                  </a:cubicBezTo>
                  <a:cubicBezTo>
                    <a:pt x="1332980" y="1476445"/>
                    <a:pt x="1537005" y="1417867"/>
                    <a:pt x="1705979" y="1294709"/>
                  </a:cubicBezTo>
                  <a:cubicBezTo>
                    <a:pt x="1709598" y="1292137"/>
                    <a:pt x="1713980" y="1291089"/>
                    <a:pt x="1718361" y="1291756"/>
                  </a:cubicBezTo>
                  <a:cubicBezTo>
                    <a:pt x="1722743" y="1292518"/>
                    <a:pt x="1726648" y="1294994"/>
                    <a:pt x="1729125" y="1298614"/>
                  </a:cubicBezTo>
                  <a:lnTo>
                    <a:pt x="2001444" y="1690282"/>
                  </a:lnTo>
                  <a:cubicBezTo>
                    <a:pt x="2006588" y="1697711"/>
                    <a:pt x="2004778" y="1707998"/>
                    <a:pt x="1997349" y="1713142"/>
                  </a:cubicBezTo>
                  <a:cubicBezTo>
                    <a:pt x="1994396" y="1715237"/>
                    <a:pt x="1991157" y="1716190"/>
                    <a:pt x="1987919" y="171619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3" name="Google Shape;1463;p27"/>
            <p:cNvSpPr/>
            <p:nvPr/>
          </p:nvSpPr>
          <p:spPr>
            <a:xfrm>
              <a:off x="5192649" y="3679157"/>
              <a:ext cx="109537" cy="109537"/>
            </a:xfrm>
            <a:custGeom>
              <a:avLst/>
              <a:gdLst/>
              <a:ahLst/>
              <a:cxnLst/>
              <a:rect l="l" t="t" r="r" b="b"/>
              <a:pathLst>
                <a:path w="109537" h="109537" extrusionOk="0">
                  <a:moveTo>
                    <a:pt x="109538" y="54769"/>
                  </a:moveTo>
                  <a:cubicBezTo>
                    <a:pt x="109538" y="84963"/>
                    <a:pt x="85058" y="109538"/>
                    <a:pt x="54769" y="109538"/>
                  </a:cubicBezTo>
                  <a:cubicBezTo>
                    <a:pt x="24574" y="109538"/>
                    <a:pt x="0" y="85058"/>
                    <a:pt x="0" y="54769"/>
                  </a:cubicBezTo>
                  <a:cubicBezTo>
                    <a:pt x="0" y="24575"/>
                    <a:pt x="24479" y="0"/>
                    <a:pt x="54769" y="0"/>
                  </a:cubicBezTo>
                  <a:cubicBezTo>
                    <a:pt x="85058" y="0"/>
                    <a:pt x="109538" y="24575"/>
                    <a:pt x="109538" y="5476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sp>
        <p:nvSpPr>
          <p:cNvPr id="1464" name="Google Shape;1464;p27"/>
          <p:cNvSpPr/>
          <p:nvPr/>
        </p:nvSpPr>
        <p:spPr>
          <a:xfrm>
            <a:off x="5317688" y="3465223"/>
            <a:ext cx="1560528" cy="1560433"/>
          </a:xfrm>
          <a:custGeom>
            <a:avLst/>
            <a:gdLst/>
            <a:ahLst/>
            <a:cxnLst/>
            <a:rect l="l" t="t" r="r" b="b"/>
            <a:pathLst>
              <a:path w="1560528" h="1560433" extrusionOk="0">
                <a:moveTo>
                  <a:pt x="1332000" y="1331905"/>
                </a:moveTo>
                <a:cubicBezTo>
                  <a:pt x="1027295" y="1636609"/>
                  <a:pt x="533233" y="1636609"/>
                  <a:pt x="228529" y="1331905"/>
                </a:cubicBezTo>
                <a:cubicBezTo>
                  <a:pt x="-76176" y="1027200"/>
                  <a:pt x="-76176" y="533233"/>
                  <a:pt x="228529" y="228529"/>
                </a:cubicBezTo>
                <a:cubicBezTo>
                  <a:pt x="533233" y="-76176"/>
                  <a:pt x="1027295" y="-76176"/>
                  <a:pt x="1332000" y="228529"/>
                </a:cubicBezTo>
                <a:cubicBezTo>
                  <a:pt x="1636705" y="533233"/>
                  <a:pt x="1636705" y="1027200"/>
                  <a:pt x="1332000" y="1331905"/>
                </a:cubicBezTo>
                <a:close/>
              </a:path>
            </a:pathLst>
          </a:custGeom>
          <a:gradFill>
            <a:gsLst>
              <a:gs pos="0">
                <a:schemeClr val="accent1"/>
              </a:gs>
              <a:gs pos="38000">
                <a:schemeClr val="accent2"/>
              </a:gs>
              <a:gs pos="76130">
                <a:schemeClr val="accent1"/>
              </a:gs>
              <a:gs pos="100000">
                <a:schemeClr val="accent2"/>
              </a:gs>
            </a:gsLst>
            <a:lin ang="54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5" name="Google Shape;1465;p27"/>
          <p:cNvSpPr/>
          <p:nvPr/>
        </p:nvSpPr>
        <p:spPr>
          <a:xfrm>
            <a:off x="5368861" y="3516396"/>
            <a:ext cx="1458277" cy="1458182"/>
          </a:xfrm>
          <a:custGeom>
            <a:avLst/>
            <a:gdLst/>
            <a:ahLst/>
            <a:cxnLst/>
            <a:rect l="l" t="t" r="r" b="b"/>
            <a:pathLst>
              <a:path w="1458277" h="1458182" extrusionOk="0">
                <a:moveTo>
                  <a:pt x="0" y="729044"/>
                </a:moveTo>
                <a:cubicBezTo>
                  <a:pt x="0" y="326422"/>
                  <a:pt x="326422" y="0"/>
                  <a:pt x="729139" y="0"/>
                </a:cubicBezTo>
                <a:cubicBezTo>
                  <a:pt x="1131761" y="0"/>
                  <a:pt x="1458278" y="326422"/>
                  <a:pt x="1458278" y="729044"/>
                </a:cubicBezTo>
                <a:cubicBezTo>
                  <a:pt x="1458278" y="1131665"/>
                  <a:pt x="1131856" y="1458087"/>
                  <a:pt x="729139" y="1458182"/>
                </a:cubicBezTo>
                <a:cubicBezTo>
                  <a:pt x="326422" y="1458087"/>
                  <a:pt x="0" y="1131665"/>
                  <a:pt x="0" y="729044"/>
                </a:cubicBezTo>
                <a:close/>
              </a:path>
            </a:pathLst>
          </a:custGeom>
          <a:solidFill>
            <a:schemeClr val="lt1"/>
          </a:solidFill>
          <a:ln>
            <a:noFill/>
          </a:ln>
          <a:effectLst>
            <a:outerShdw blurRad="127000" sx="101000" sy="101000" algn="ctr" rotWithShape="0">
              <a:srgbClr val="000000">
                <a:alpha val="14509"/>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6" name="Google Shape;1466;p27"/>
          <p:cNvSpPr/>
          <p:nvPr/>
        </p:nvSpPr>
        <p:spPr>
          <a:xfrm>
            <a:off x="7516844" y="3419720"/>
            <a:ext cx="619563" cy="541936"/>
          </a:xfrm>
          <a:custGeom>
            <a:avLst/>
            <a:gdLst/>
            <a:ahLst/>
            <a:cxnLst/>
            <a:rect l="l" t="t" r="r" b="b"/>
            <a:pathLst>
              <a:path w="619563" h="541936" extrusionOk="0">
                <a:moveTo>
                  <a:pt x="426530" y="530444"/>
                </a:moveTo>
                <a:cubicBezTo>
                  <a:pt x="569785" y="487391"/>
                  <a:pt x="651034" y="336325"/>
                  <a:pt x="608076" y="193069"/>
                </a:cubicBezTo>
                <a:cubicBezTo>
                  <a:pt x="565023" y="49813"/>
                  <a:pt x="413956" y="-31531"/>
                  <a:pt x="270700" y="11522"/>
                </a:cubicBezTo>
                <a:cubicBezTo>
                  <a:pt x="151257" y="47432"/>
                  <a:pt x="74962" y="158303"/>
                  <a:pt x="77819" y="277174"/>
                </a:cubicBezTo>
                <a:lnTo>
                  <a:pt x="0" y="375663"/>
                </a:lnTo>
                <a:lnTo>
                  <a:pt x="119253" y="415001"/>
                </a:lnTo>
                <a:cubicBezTo>
                  <a:pt x="182308" y="515776"/>
                  <a:pt x="307086" y="566258"/>
                  <a:pt x="426530" y="53044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7" name="Google Shape;1467;p27"/>
          <p:cNvSpPr/>
          <p:nvPr/>
        </p:nvSpPr>
        <p:spPr>
          <a:xfrm>
            <a:off x="4057589" y="3385545"/>
            <a:ext cx="609850" cy="541881"/>
          </a:xfrm>
          <a:custGeom>
            <a:avLst/>
            <a:gdLst/>
            <a:ahLst/>
            <a:cxnLst/>
            <a:rect l="l" t="t" r="r" b="b"/>
            <a:pathLst>
              <a:path w="609850" h="541881" extrusionOk="0">
                <a:moveTo>
                  <a:pt x="172177" y="523185"/>
                </a:moveTo>
                <a:cubicBezTo>
                  <a:pt x="32922" y="468607"/>
                  <a:pt x="-35849" y="311445"/>
                  <a:pt x="18729" y="172189"/>
                </a:cubicBezTo>
                <a:cubicBezTo>
                  <a:pt x="73308" y="32838"/>
                  <a:pt x="230470" y="-35837"/>
                  <a:pt x="369726" y="18741"/>
                </a:cubicBezTo>
                <a:cubicBezTo>
                  <a:pt x="485835" y="64176"/>
                  <a:pt x="552796" y="180952"/>
                  <a:pt x="540318" y="299253"/>
                </a:cubicBezTo>
                <a:lnTo>
                  <a:pt x="609851" y="403742"/>
                </a:lnTo>
                <a:lnTo>
                  <a:pt x="487740" y="433174"/>
                </a:lnTo>
                <a:cubicBezTo>
                  <a:pt x="416779" y="528424"/>
                  <a:pt x="288287" y="568620"/>
                  <a:pt x="172177" y="52318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8" name="Google Shape;1468;p27"/>
          <p:cNvSpPr/>
          <p:nvPr/>
        </p:nvSpPr>
        <p:spPr>
          <a:xfrm>
            <a:off x="6891765" y="5447304"/>
            <a:ext cx="541880" cy="581551"/>
          </a:xfrm>
          <a:custGeom>
            <a:avLst/>
            <a:gdLst/>
            <a:ahLst/>
            <a:cxnLst/>
            <a:rect l="l" t="t" r="r" b="b"/>
            <a:pathLst>
              <a:path w="541880" h="581551" extrusionOk="0">
                <a:moveTo>
                  <a:pt x="39768" y="451866"/>
                </a:moveTo>
                <a:cubicBezTo>
                  <a:pt x="117777" y="579501"/>
                  <a:pt x="284560" y="619792"/>
                  <a:pt x="412195" y="541782"/>
                </a:cubicBezTo>
                <a:cubicBezTo>
                  <a:pt x="539830" y="463772"/>
                  <a:pt x="580121" y="296989"/>
                  <a:pt x="502111" y="169354"/>
                </a:cubicBezTo>
                <a:cubicBezTo>
                  <a:pt x="437055" y="62960"/>
                  <a:pt x="310468" y="17336"/>
                  <a:pt x="196168" y="50292"/>
                </a:cubicBezTo>
                <a:lnTo>
                  <a:pt x="81106" y="0"/>
                </a:lnTo>
                <a:lnTo>
                  <a:pt x="73391" y="125349"/>
                </a:lnTo>
                <a:cubicBezTo>
                  <a:pt x="-8048" y="212027"/>
                  <a:pt x="-25288" y="345472"/>
                  <a:pt x="39768" y="45186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9" name="Google Shape;1469;p27"/>
          <p:cNvSpPr/>
          <p:nvPr/>
        </p:nvSpPr>
        <p:spPr>
          <a:xfrm>
            <a:off x="4785595" y="5447304"/>
            <a:ext cx="541909" cy="581551"/>
          </a:xfrm>
          <a:custGeom>
            <a:avLst/>
            <a:gdLst/>
            <a:ahLst/>
            <a:cxnLst/>
            <a:rect l="l" t="t" r="r" b="b"/>
            <a:pathLst>
              <a:path w="541909" h="581551" extrusionOk="0">
                <a:moveTo>
                  <a:pt x="502113" y="451866"/>
                </a:moveTo>
                <a:cubicBezTo>
                  <a:pt x="424103" y="579501"/>
                  <a:pt x="257320" y="619792"/>
                  <a:pt x="129685" y="541782"/>
                </a:cubicBezTo>
                <a:cubicBezTo>
                  <a:pt x="2050" y="463772"/>
                  <a:pt x="-38241" y="296989"/>
                  <a:pt x="39769" y="169354"/>
                </a:cubicBezTo>
                <a:cubicBezTo>
                  <a:pt x="104825" y="62960"/>
                  <a:pt x="231412" y="17336"/>
                  <a:pt x="345712" y="50292"/>
                </a:cubicBezTo>
                <a:lnTo>
                  <a:pt x="460774" y="0"/>
                </a:lnTo>
                <a:lnTo>
                  <a:pt x="468489" y="125349"/>
                </a:lnTo>
                <a:cubicBezTo>
                  <a:pt x="550023" y="212027"/>
                  <a:pt x="567168" y="345472"/>
                  <a:pt x="502113" y="4518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70" name="Google Shape;1470;p27"/>
          <p:cNvSpPr/>
          <p:nvPr/>
        </p:nvSpPr>
        <p:spPr>
          <a:xfrm>
            <a:off x="5825109" y="2096600"/>
            <a:ext cx="541782" cy="634936"/>
          </a:xfrm>
          <a:custGeom>
            <a:avLst/>
            <a:gdLst/>
            <a:ahLst/>
            <a:cxnLst/>
            <a:rect l="l" t="t" r="r" b="b"/>
            <a:pathLst>
              <a:path w="541782" h="634936" extrusionOk="0">
                <a:moveTo>
                  <a:pt x="541782" y="270891"/>
                </a:moveTo>
                <a:cubicBezTo>
                  <a:pt x="541782" y="121253"/>
                  <a:pt x="420529" y="0"/>
                  <a:pt x="270891" y="0"/>
                </a:cubicBezTo>
                <a:cubicBezTo>
                  <a:pt x="121253" y="0"/>
                  <a:pt x="0" y="121253"/>
                  <a:pt x="0" y="270891"/>
                </a:cubicBezTo>
                <a:cubicBezTo>
                  <a:pt x="0" y="395573"/>
                  <a:pt x="84296" y="500539"/>
                  <a:pt x="198977" y="532067"/>
                </a:cubicBezTo>
                <a:lnTo>
                  <a:pt x="270891" y="634937"/>
                </a:lnTo>
                <a:lnTo>
                  <a:pt x="342805" y="532067"/>
                </a:lnTo>
                <a:cubicBezTo>
                  <a:pt x="457486" y="500539"/>
                  <a:pt x="541782" y="395573"/>
                  <a:pt x="541782" y="27089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71" name="Google Shape;1471;p27"/>
          <p:cNvSpPr txBox="1"/>
          <p:nvPr/>
        </p:nvSpPr>
        <p:spPr>
          <a:xfrm>
            <a:off x="3296077" y="1533661"/>
            <a:ext cx="559984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in the major parts of the world are both members of a region and of the global associations. </a:t>
            </a:r>
            <a:endParaRPr sz="1400" b="0" i="0" u="none" strike="noStrike" cap="none">
              <a:solidFill>
                <a:srgbClr val="000000"/>
              </a:solidFill>
              <a:latin typeface="Arial"/>
              <a:ea typeface="Arial"/>
              <a:cs typeface="Arial"/>
              <a:sym typeface="Arial"/>
            </a:endParaRPr>
          </a:p>
        </p:txBody>
      </p:sp>
      <p:sp>
        <p:nvSpPr>
          <p:cNvPr id="1472" name="Google Shape;1472;p27"/>
          <p:cNvSpPr txBox="1"/>
          <p:nvPr/>
        </p:nvSpPr>
        <p:spPr>
          <a:xfrm>
            <a:off x="2921092" y="332450"/>
            <a:ext cx="634981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AF/ILAC MULTILATERAL MRAS </a:t>
            </a:r>
            <a:r>
              <a:rPr lang="en-US" sz="1400" b="1" i="0" u="none" strike="noStrike" cap="none">
                <a:solidFill>
                  <a:schemeClr val="dk1"/>
                </a:solidFill>
                <a:latin typeface="Poppins"/>
                <a:ea typeface="Poppins"/>
                <a:cs typeface="Poppins"/>
                <a:sym typeface="Poppins"/>
              </a:rPr>
              <a:t>(Continued)</a:t>
            </a:r>
            <a:endParaRPr sz="2800" b="1" i="0" u="none" strike="noStrike" cap="none">
              <a:solidFill>
                <a:schemeClr val="dk1"/>
              </a:solidFill>
              <a:latin typeface="Poppins"/>
              <a:ea typeface="Poppins"/>
              <a:cs typeface="Poppins"/>
              <a:sym typeface="Poppins"/>
            </a:endParaRPr>
          </a:p>
        </p:txBody>
      </p:sp>
      <p:sp>
        <p:nvSpPr>
          <p:cNvPr id="1473" name="Google Shape;1473;p27"/>
          <p:cNvSpPr txBox="1"/>
          <p:nvPr/>
        </p:nvSpPr>
        <p:spPr>
          <a:xfrm>
            <a:off x="8223491" y="3182856"/>
            <a:ext cx="3646216"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Exceptions are accreditation bodies from parts of the world where a regional cooperation is not established yet; those accreditation bodies are only members of the global associations (unaffiliated bodies). </a:t>
            </a:r>
            <a:endParaRPr sz="1400" b="0" i="0" u="none" strike="noStrike" cap="none">
              <a:solidFill>
                <a:srgbClr val="000000"/>
              </a:solidFill>
              <a:latin typeface="Arial"/>
              <a:ea typeface="Arial"/>
              <a:cs typeface="Arial"/>
              <a:sym typeface="Arial"/>
            </a:endParaRPr>
          </a:p>
        </p:txBody>
      </p:sp>
      <p:sp>
        <p:nvSpPr>
          <p:cNvPr id="1474" name="Google Shape;1474;p27"/>
          <p:cNvSpPr txBox="1"/>
          <p:nvPr/>
        </p:nvSpPr>
        <p:spPr>
          <a:xfrm>
            <a:off x="7520729" y="5520272"/>
            <a:ext cx="4268032"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Stakeholders and other interested parties may also be members of the global associations.</a:t>
            </a:r>
            <a:endParaRPr sz="1400" b="0" i="0" u="none" strike="noStrike" cap="none">
              <a:solidFill>
                <a:srgbClr val="000000"/>
              </a:solidFill>
              <a:latin typeface="Arial"/>
              <a:ea typeface="Arial"/>
              <a:cs typeface="Arial"/>
              <a:sym typeface="Arial"/>
            </a:endParaRPr>
          </a:p>
        </p:txBody>
      </p:sp>
      <p:cxnSp>
        <p:nvCxnSpPr>
          <p:cNvPr id="1475" name="Google Shape;1475;p27"/>
          <p:cNvCxnSpPr/>
          <p:nvPr/>
        </p:nvCxnSpPr>
        <p:spPr>
          <a:xfrm>
            <a:off x="5529618" y="1103120"/>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476" name="Google Shape;1476;p27"/>
          <p:cNvSpPr txBox="1"/>
          <p:nvPr/>
        </p:nvSpPr>
        <p:spPr>
          <a:xfrm>
            <a:off x="5819488" y="2206357"/>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sp>
        <p:nvSpPr>
          <p:cNvPr id="1477" name="Google Shape;1477;p27"/>
          <p:cNvSpPr txBox="1"/>
          <p:nvPr/>
        </p:nvSpPr>
        <p:spPr>
          <a:xfrm>
            <a:off x="7583383" y="3521411"/>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
        <p:nvSpPr>
          <p:cNvPr id="1478" name="Google Shape;1478;p27"/>
          <p:cNvSpPr txBox="1"/>
          <p:nvPr/>
        </p:nvSpPr>
        <p:spPr>
          <a:xfrm>
            <a:off x="6878216" y="5578535"/>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1479" name="Google Shape;1479;p27"/>
          <p:cNvSpPr txBox="1"/>
          <p:nvPr/>
        </p:nvSpPr>
        <p:spPr>
          <a:xfrm>
            <a:off x="4760761" y="5587327"/>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1480" name="Google Shape;1480;p27"/>
          <p:cNvSpPr txBox="1"/>
          <p:nvPr/>
        </p:nvSpPr>
        <p:spPr>
          <a:xfrm>
            <a:off x="4046353" y="3482693"/>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5</a:t>
            </a:r>
            <a:endParaRPr sz="1400" b="0" i="0" u="none" strike="noStrike" cap="none">
              <a:solidFill>
                <a:srgbClr val="000000"/>
              </a:solidFill>
              <a:latin typeface="Arial"/>
              <a:ea typeface="Arial"/>
              <a:cs typeface="Arial"/>
              <a:sym typeface="Arial"/>
            </a:endParaRPr>
          </a:p>
        </p:txBody>
      </p:sp>
      <p:pic>
        <p:nvPicPr>
          <p:cNvPr id="1481" name="Google Shape;1481;p27" descr="ilacRGB"/>
          <p:cNvPicPr preferRelativeResize="0"/>
          <p:nvPr/>
        </p:nvPicPr>
        <p:blipFill rotWithShape="1">
          <a:blip r:embed="rId3">
            <a:alphaModFix/>
          </a:blip>
          <a:srcRect/>
          <a:stretch/>
        </p:blipFill>
        <p:spPr>
          <a:xfrm>
            <a:off x="5861401" y="4272651"/>
            <a:ext cx="473196" cy="472036"/>
          </a:xfrm>
          <a:prstGeom prst="rect">
            <a:avLst/>
          </a:prstGeom>
          <a:noFill/>
          <a:ln>
            <a:noFill/>
          </a:ln>
        </p:spPr>
      </p:pic>
      <p:pic>
        <p:nvPicPr>
          <p:cNvPr id="1482" name="Google Shape;1482;p27" descr="A picture containing logo&#10;&#10;Description automatically generated"/>
          <p:cNvPicPr preferRelativeResize="0"/>
          <p:nvPr/>
        </p:nvPicPr>
        <p:blipFill rotWithShape="1">
          <a:blip r:embed="rId4">
            <a:alphaModFix/>
          </a:blip>
          <a:srcRect/>
          <a:stretch/>
        </p:blipFill>
        <p:spPr>
          <a:xfrm>
            <a:off x="5758263" y="3743335"/>
            <a:ext cx="679472" cy="424470"/>
          </a:xfrm>
          <a:prstGeom prst="rect">
            <a:avLst/>
          </a:prstGeom>
          <a:noFill/>
          <a:ln>
            <a:no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487"/>
        <p:cNvGrpSpPr/>
        <p:nvPr/>
      </p:nvGrpSpPr>
      <p:grpSpPr>
        <a:xfrm>
          <a:off x="0" y="0"/>
          <a:ext cx="0" cy="0"/>
          <a:chOff x="0" y="0"/>
          <a:chExt cx="0" cy="0"/>
        </a:xfrm>
      </p:grpSpPr>
      <p:sp>
        <p:nvSpPr>
          <p:cNvPr id="1488" name="Google Shape;1488;p28"/>
          <p:cNvSpPr txBox="1"/>
          <p:nvPr/>
        </p:nvSpPr>
        <p:spPr>
          <a:xfrm>
            <a:off x="381000" y="691998"/>
            <a:ext cx="5990771"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THE BENEFITS OF THE IAF/ILAC MULTILATERAL MLAS/MRAS</a:t>
            </a:r>
            <a:endParaRPr sz="1400" b="0" i="0" u="none" strike="noStrike" cap="none">
              <a:solidFill>
                <a:srgbClr val="000000"/>
              </a:solidFill>
              <a:latin typeface="Arial"/>
              <a:ea typeface="Arial"/>
              <a:cs typeface="Arial"/>
              <a:sym typeface="Arial"/>
            </a:endParaRPr>
          </a:p>
        </p:txBody>
      </p:sp>
      <p:cxnSp>
        <p:nvCxnSpPr>
          <p:cNvPr id="1489" name="Google Shape;1489;p28"/>
          <p:cNvCxnSpPr/>
          <p:nvPr/>
        </p:nvCxnSpPr>
        <p:spPr>
          <a:xfrm>
            <a:off x="495300" y="1646105"/>
            <a:ext cx="1132764" cy="0"/>
          </a:xfrm>
          <a:prstGeom prst="straightConnector1">
            <a:avLst/>
          </a:prstGeom>
          <a:noFill/>
          <a:ln w="19050" cap="flat" cmpd="sng">
            <a:solidFill>
              <a:schemeClr val="accent1"/>
            </a:solidFill>
            <a:prstDash val="solid"/>
            <a:miter lim="800000"/>
            <a:headEnd type="none" w="sm" len="sm"/>
            <a:tailEnd type="none" w="sm" len="sm"/>
          </a:ln>
        </p:spPr>
      </p:cxnSp>
      <p:grpSp>
        <p:nvGrpSpPr>
          <p:cNvPr id="1490" name="Google Shape;1490;p28"/>
          <p:cNvGrpSpPr/>
          <p:nvPr/>
        </p:nvGrpSpPr>
        <p:grpSpPr>
          <a:xfrm>
            <a:off x="580654" y="1935333"/>
            <a:ext cx="5526103" cy="923586"/>
            <a:chOff x="580654" y="2036636"/>
            <a:chExt cx="5526103" cy="923586"/>
          </a:xfrm>
        </p:grpSpPr>
        <p:sp>
          <p:nvSpPr>
            <p:cNvPr id="1491" name="Google Shape;1491;p28"/>
            <p:cNvSpPr txBox="1"/>
            <p:nvPr/>
          </p:nvSpPr>
          <p:spPr>
            <a:xfrm>
              <a:off x="1572857" y="2036636"/>
              <a:ext cx="4533900" cy="9235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For Government</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Facilitator of trade</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An efficient enforcement and monitoring tool</a:t>
              </a:r>
              <a:endParaRPr sz="1400" b="0" i="0" u="none" strike="noStrike" cap="none">
                <a:solidFill>
                  <a:srgbClr val="000000"/>
                </a:solidFill>
                <a:latin typeface="Arial"/>
                <a:ea typeface="Arial"/>
                <a:cs typeface="Arial"/>
                <a:sym typeface="Arial"/>
              </a:endParaRPr>
            </a:p>
          </p:txBody>
        </p:sp>
        <p:sp>
          <p:nvSpPr>
            <p:cNvPr id="1492" name="Google Shape;1492;p28"/>
            <p:cNvSpPr/>
            <p:nvPr/>
          </p:nvSpPr>
          <p:spPr>
            <a:xfrm>
              <a:off x="580654" y="2081161"/>
              <a:ext cx="834536" cy="834536"/>
            </a:xfrm>
            <a:prstGeom prst="ellipse">
              <a:avLst/>
            </a:prstGeom>
            <a:solidFill>
              <a:schemeClr val="lt1"/>
            </a:solidFill>
            <a:ln w="9525" cap="flat" cmpd="sng">
              <a:solidFill>
                <a:schemeClr val="accent1"/>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493" name="Google Shape;1493;p28"/>
            <p:cNvPicPr preferRelativeResize="0"/>
            <p:nvPr/>
          </p:nvPicPr>
          <p:blipFill rotWithShape="1">
            <a:blip r:embed="rId3">
              <a:alphaModFix/>
            </a:blip>
            <a:srcRect/>
            <a:stretch/>
          </p:blipFill>
          <p:spPr>
            <a:xfrm>
              <a:off x="767214" y="2269523"/>
              <a:ext cx="461416" cy="457812"/>
            </a:xfrm>
            <a:prstGeom prst="rect">
              <a:avLst/>
            </a:prstGeom>
            <a:noFill/>
            <a:ln>
              <a:noFill/>
            </a:ln>
          </p:spPr>
        </p:pic>
      </p:grpSp>
      <p:grpSp>
        <p:nvGrpSpPr>
          <p:cNvPr id="1494" name="Google Shape;1494;p28"/>
          <p:cNvGrpSpPr/>
          <p:nvPr/>
        </p:nvGrpSpPr>
        <p:grpSpPr>
          <a:xfrm>
            <a:off x="580654" y="3168926"/>
            <a:ext cx="6707203" cy="1246752"/>
            <a:chOff x="580654" y="3182168"/>
            <a:chExt cx="6707203" cy="1246752"/>
          </a:xfrm>
        </p:grpSpPr>
        <p:sp>
          <p:nvSpPr>
            <p:cNvPr id="1495" name="Google Shape;1495;p28"/>
            <p:cNvSpPr txBox="1"/>
            <p:nvPr/>
          </p:nvSpPr>
          <p:spPr>
            <a:xfrm>
              <a:off x="1572857" y="3182168"/>
              <a:ext cx="5715000" cy="124675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For Business</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Greater acceptance of products and services </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Avoid costs associated with repeat conformity assessment</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Informed procurement</a:t>
              </a:r>
              <a:endParaRPr sz="1400" b="0" i="0" u="none" strike="noStrike" cap="none">
                <a:solidFill>
                  <a:srgbClr val="000000"/>
                </a:solidFill>
                <a:latin typeface="Arial"/>
                <a:ea typeface="Arial"/>
                <a:cs typeface="Arial"/>
                <a:sym typeface="Arial"/>
              </a:endParaRPr>
            </a:p>
          </p:txBody>
        </p:sp>
        <p:sp>
          <p:nvSpPr>
            <p:cNvPr id="1496" name="Google Shape;1496;p28"/>
            <p:cNvSpPr/>
            <p:nvPr/>
          </p:nvSpPr>
          <p:spPr>
            <a:xfrm>
              <a:off x="580654" y="3388276"/>
              <a:ext cx="834536" cy="834536"/>
            </a:xfrm>
            <a:prstGeom prst="ellipse">
              <a:avLst/>
            </a:prstGeom>
            <a:solidFill>
              <a:schemeClr val="lt1"/>
            </a:solidFill>
            <a:ln w="9525" cap="flat" cmpd="sng">
              <a:solidFill>
                <a:schemeClr val="accent1"/>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497" name="Google Shape;1497;p28"/>
            <p:cNvPicPr preferRelativeResize="0"/>
            <p:nvPr/>
          </p:nvPicPr>
          <p:blipFill rotWithShape="1">
            <a:blip r:embed="rId4">
              <a:alphaModFix/>
            </a:blip>
            <a:srcRect/>
            <a:stretch/>
          </p:blipFill>
          <p:spPr>
            <a:xfrm>
              <a:off x="769016" y="3576638"/>
              <a:ext cx="457812" cy="457812"/>
            </a:xfrm>
            <a:prstGeom prst="rect">
              <a:avLst/>
            </a:prstGeom>
            <a:noFill/>
            <a:ln>
              <a:noFill/>
            </a:ln>
          </p:spPr>
        </p:pic>
      </p:grpSp>
      <p:grpSp>
        <p:nvGrpSpPr>
          <p:cNvPr id="1498" name="Google Shape;1498;p28"/>
          <p:cNvGrpSpPr/>
          <p:nvPr/>
        </p:nvGrpSpPr>
        <p:grpSpPr>
          <a:xfrm>
            <a:off x="580654" y="4924425"/>
            <a:ext cx="834536" cy="834536"/>
            <a:chOff x="580654" y="4924425"/>
            <a:chExt cx="834536" cy="834536"/>
          </a:xfrm>
        </p:grpSpPr>
        <p:sp>
          <p:nvSpPr>
            <p:cNvPr id="1499" name="Google Shape;1499;p28"/>
            <p:cNvSpPr/>
            <p:nvPr/>
          </p:nvSpPr>
          <p:spPr>
            <a:xfrm>
              <a:off x="580654" y="4924425"/>
              <a:ext cx="834536" cy="834536"/>
            </a:xfrm>
            <a:prstGeom prst="ellipse">
              <a:avLst/>
            </a:prstGeom>
            <a:solidFill>
              <a:schemeClr val="lt1"/>
            </a:solidFill>
            <a:ln w="12700" cap="flat" cmpd="sng">
              <a:solidFill>
                <a:schemeClr val="accent1"/>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500" name="Google Shape;1500;p28"/>
            <p:cNvPicPr preferRelativeResize="0"/>
            <p:nvPr/>
          </p:nvPicPr>
          <p:blipFill rotWithShape="1">
            <a:blip r:embed="rId5">
              <a:alphaModFix/>
            </a:blip>
            <a:srcRect/>
            <a:stretch/>
          </p:blipFill>
          <p:spPr>
            <a:xfrm>
              <a:off x="748351" y="5112787"/>
              <a:ext cx="448764" cy="457812"/>
            </a:xfrm>
            <a:prstGeom prst="rect">
              <a:avLst/>
            </a:prstGeom>
            <a:noFill/>
            <a:ln>
              <a:noFill/>
            </a:ln>
          </p:spPr>
        </p:pic>
      </p:grpSp>
      <p:pic>
        <p:nvPicPr>
          <p:cNvPr id="1501" name="Google Shape;1501;p28"/>
          <p:cNvPicPr preferRelativeResize="0">
            <a:picLocks noGrp="1"/>
          </p:cNvPicPr>
          <p:nvPr>
            <p:ph type="pic" idx="2"/>
          </p:nvPr>
        </p:nvPicPr>
        <p:blipFill rotWithShape="1">
          <a:blip r:embed="rId6">
            <a:alphaModFix/>
          </a:blip>
          <a:srcRect l="23527" r="23527"/>
          <a:stretch/>
        </p:blipFill>
        <p:spPr>
          <a:xfrm>
            <a:off x="7750320" y="1075483"/>
            <a:ext cx="3944777" cy="4966557"/>
          </a:xfrm>
          <a:prstGeom prst="rect">
            <a:avLst/>
          </a:prstGeom>
          <a:noFill/>
          <a:ln>
            <a:noFill/>
          </a:ln>
          <a:effectLst>
            <a:outerShdw blurRad="190500" sx="102000" sy="102000" algn="ctr" rotWithShape="0">
              <a:srgbClr val="000000">
                <a:alpha val="20000"/>
              </a:srgbClr>
            </a:outerShdw>
          </a:effectLst>
        </p:spPr>
      </p:pic>
      <p:sp>
        <p:nvSpPr>
          <p:cNvPr id="1502" name="Google Shape;1502;p28"/>
          <p:cNvSpPr txBox="1"/>
          <p:nvPr/>
        </p:nvSpPr>
        <p:spPr>
          <a:xfrm>
            <a:off x="1572857" y="4835375"/>
            <a:ext cx="5715000" cy="9235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For Consumers</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Public confidence in goods and services</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Minimises product failures or recall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506"/>
        <p:cNvGrpSpPr/>
        <p:nvPr/>
      </p:nvGrpSpPr>
      <p:grpSpPr>
        <a:xfrm>
          <a:off x="0" y="0"/>
          <a:ext cx="0" cy="0"/>
          <a:chOff x="0" y="0"/>
          <a:chExt cx="0" cy="0"/>
        </a:xfrm>
      </p:grpSpPr>
      <p:pic>
        <p:nvPicPr>
          <p:cNvPr id="1507" name="Google Shape;1507;p29" descr="A hand holding a tablet&#10;&#10;Description automatically generated with medium confidence"/>
          <p:cNvPicPr preferRelativeResize="0"/>
          <p:nvPr/>
        </p:nvPicPr>
        <p:blipFill rotWithShape="1">
          <a:blip r:embed="rId3">
            <a:alphaModFix/>
          </a:blip>
          <a:srcRect l="29510" r="7612"/>
          <a:stretch/>
        </p:blipFill>
        <p:spPr>
          <a:xfrm>
            <a:off x="8248707" y="365559"/>
            <a:ext cx="5692877" cy="6467268"/>
          </a:xfrm>
          <a:prstGeom prst="rect">
            <a:avLst/>
          </a:prstGeom>
          <a:noFill/>
          <a:ln>
            <a:noFill/>
          </a:ln>
        </p:spPr>
      </p:pic>
      <p:sp>
        <p:nvSpPr>
          <p:cNvPr id="1508" name="Google Shape;1508;p29"/>
          <p:cNvSpPr txBox="1"/>
          <p:nvPr/>
        </p:nvSpPr>
        <p:spPr>
          <a:xfrm>
            <a:off x="1289539" y="417514"/>
            <a:ext cx="96129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THE ROUTE TO SIGNING THE ARRANGEMENTS</a:t>
            </a:r>
            <a:endParaRPr sz="1400" b="0" i="0" u="none" strike="noStrike" cap="none">
              <a:solidFill>
                <a:srgbClr val="000000"/>
              </a:solidFill>
              <a:latin typeface="Arial"/>
              <a:ea typeface="Arial"/>
              <a:cs typeface="Arial"/>
              <a:sym typeface="Arial"/>
            </a:endParaRPr>
          </a:p>
        </p:txBody>
      </p:sp>
      <p:cxnSp>
        <p:nvCxnSpPr>
          <p:cNvPr id="1509" name="Google Shape;1509;p29"/>
          <p:cNvCxnSpPr/>
          <p:nvPr/>
        </p:nvCxnSpPr>
        <p:spPr>
          <a:xfrm>
            <a:off x="5529618" y="101107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10" name="Google Shape;1510;p29"/>
          <p:cNvSpPr/>
          <p:nvPr/>
        </p:nvSpPr>
        <p:spPr>
          <a:xfrm>
            <a:off x="2875229" y="1296109"/>
            <a:ext cx="3527754" cy="785412"/>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1" name="Google Shape;1511;p29"/>
          <p:cNvSpPr/>
          <p:nvPr/>
        </p:nvSpPr>
        <p:spPr>
          <a:xfrm>
            <a:off x="2875229" y="2307594"/>
            <a:ext cx="3527754" cy="785412"/>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2" name="Google Shape;1512;p29"/>
          <p:cNvSpPr/>
          <p:nvPr/>
        </p:nvSpPr>
        <p:spPr>
          <a:xfrm>
            <a:off x="5369458" y="4132433"/>
            <a:ext cx="3527754" cy="1149623"/>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3" name="Google Shape;1513;p29"/>
          <p:cNvSpPr/>
          <p:nvPr/>
        </p:nvSpPr>
        <p:spPr>
          <a:xfrm>
            <a:off x="426158" y="4231950"/>
            <a:ext cx="3527754" cy="1442543"/>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4" name="Google Shape;1514;p29"/>
          <p:cNvSpPr/>
          <p:nvPr/>
        </p:nvSpPr>
        <p:spPr>
          <a:xfrm>
            <a:off x="5369458" y="5497796"/>
            <a:ext cx="3527754" cy="785412"/>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5" name="Google Shape;1515;p29"/>
          <p:cNvSpPr txBox="1"/>
          <p:nvPr/>
        </p:nvSpPr>
        <p:spPr>
          <a:xfrm>
            <a:off x="3067912" y="1496455"/>
            <a:ext cx="3142388"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B decision to apply for membership to IAF/ILAC Arrangements</a:t>
            </a:r>
            <a:endParaRPr sz="1400" b="0" i="0" u="none" strike="noStrike" cap="none">
              <a:solidFill>
                <a:srgbClr val="000000"/>
              </a:solidFill>
              <a:latin typeface="Arial"/>
              <a:ea typeface="Arial"/>
              <a:cs typeface="Arial"/>
              <a:sym typeface="Arial"/>
            </a:endParaRPr>
          </a:p>
        </p:txBody>
      </p:sp>
      <p:sp>
        <p:nvSpPr>
          <p:cNvPr id="1516" name="Google Shape;1516;p29"/>
          <p:cNvSpPr txBox="1"/>
          <p:nvPr/>
        </p:nvSpPr>
        <p:spPr>
          <a:xfrm>
            <a:off x="3067912" y="2507940"/>
            <a:ext cx="3142388"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Eligible to be a member of a recognized regional cooperation body</a:t>
            </a:r>
            <a:endParaRPr sz="1400" b="0" i="0" u="none" strike="noStrike" cap="none">
              <a:solidFill>
                <a:srgbClr val="000000"/>
              </a:solidFill>
              <a:latin typeface="Arial"/>
              <a:ea typeface="Arial"/>
              <a:cs typeface="Arial"/>
              <a:sym typeface="Arial"/>
            </a:endParaRPr>
          </a:p>
        </p:txBody>
      </p:sp>
      <p:sp>
        <p:nvSpPr>
          <p:cNvPr id="1517" name="Google Shape;1517;p29"/>
          <p:cNvSpPr/>
          <p:nvPr/>
        </p:nvSpPr>
        <p:spPr>
          <a:xfrm>
            <a:off x="1798913" y="3584505"/>
            <a:ext cx="782244" cy="500800"/>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8" name="Google Shape;1518;p29"/>
          <p:cNvSpPr txBox="1"/>
          <p:nvPr/>
        </p:nvSpPr>
        <p:spPr>
          <a:xfrm>
            <a:off x="1848163" y="3711795"/>
            <a:ext cx="683744"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Yes</a:t>
            </a:r>
            <a:endParaRPr sz="1400" b="0" i="0" u="none" strike="noStrike" cap="none">
              <a:solidFill>
                <a:srgbClr val="000000"/>
              </a:solidFill>
              <a:latin typeface="Arial"/>
              <a:ea typeface="Arial"/>
              <a:cs typeface="Arial"/>
              <a:sym typeface="Arial"/>
            </a:endParaRPr>
          </a:p>
        </p:txBody>
      </p:sp>
      <p:sp>
        <p:nvSpPr>
          <p:cNvPr id="1519" name="Google Shape;1519;p29"/>
          <p:cNvSpPr/>
          <p:nvPr/>
        </p:nvSpPr>
        <p:spPr>
          <a:xfrm>
            <a:off x="6742213" y="3471903"/>
            <a:ext cx="782244" cy="500800"/>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20" name="Google Shape;1520;p29"/>
          <p:cNvSpPr txBox="1"/>
          <p:nvPr/>
        </p:nvSpPr>
        <p:spPr>
          <a:xfrm>
            <a:off x="6770077" y="3603040"/>
            <a:ext cx="726516"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No</a:t>
            </a:r>
            <a:endParaRPr sz="1400" b="0" i="0" u="none" strike="noStrike" cap="none">
              <a:solidFill>
                <a:srgbClr val="000000"/>
              </a:solidFill>
              <a:latin typeface="Arial"/>
              <a:ea typeface="Arial"/>
              <a:cs typeface="Arial"/>
              <a:sym typeface="Arial"/>
            </a:endParaRPr>
          </a:p>
        </p:txBody>
      </p:sp>
      <p:sp>
        <p:nvSpPr>
          <p:cNvPr id="1521" name="Google Shape;1521;p29"/>
          <p:cNvSpPr txBox="1"/>
          <p:nvPr/>
        </p:nvSpPr>
        <p:spPr>
          <a:xfrm>
            <a:off x="5510020" y="4237885"/>
            <a:ext cx="3246630" cy="93871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pply to IAF and/or ILAC Secretariats to become member of Arrangements. Evaluation and decision making process carried out by IAF and/or ILAC as per IAF/ILAC A2</a:t>
            </a:r>
            <a:endParaRPr sz="1400" b="0" i="0" u="none" strike="noStrike" cap="none">
              <a:solidFill>
                <a:srgbClr val="000000"/>
              </a:solidFill>
              <a:latin typeface="Arial"/>
              <a:ea typeface="Arial"/>
              <a:cs typeface="Arial"/>
              <a:sym typeface="Arial"/>
            </a:endParaRPr>
          </a:p>
        </p:txBody>
      </p:sp>
      <p:sp>
        <p:nvSpPr>
          <p:cNvPr id="1522" name="Google Shape;1522;p29"/>
          <p:cNvSpPr txBox="1"/>
          <p:nvPr/>
        </p:nvSpPr>
        <p:spPr>
          <a:xfrm>
            <a:off x="618841" y="4322013"/>
            <a:ext cx="3142388" cy="127727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pply to recognised regional cooperation body and go through evaluation process with this organization. Once signatory to regional MRA/MLA apply to IAF/LAC Secretariats and complete paperwork to become member of the IAF and/or ILAC Arrangements</a:t>
            </a:r>
            <a:endParaRPr sz="1400" b="0" i="0" u="none" strike="noStrike" cap="none">
              <a:solidFill>
                <a:srgbClr val="000000"/>
              </a:solidFill>
              <a:latin typeface="Arial"/>
              <a:ea typeface="Arial"/>
              <a:cs typeface="Arial"/>
              <a:sym typeface="Arial"/>
            </a:endParaRPr>
          </a:p>
        </p:txBody>
      </p:sp>
      <p:sp>
        <p:nvSpPr>
          <p:cNvPr id="1523" name="Google Shape;1523;p29"/>
          <p:cNvSpPr txBox="1"/>
          <p:nvPr/>
        </p:nvSpPr>
        <p:spPr>
          <a:xfrm>
            <a:off x="5924096" y="5590420"/>
            <a:ext cx="2418478"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Member of IAF/ILAC Arrangements for defined activities</a:t>
            </a:r>
            <a:endParaRPr sz="1400" b="0" i="0" u="none" strike="noStrike" cap="none">
              <a:solidFill>
                <a:srgbClr val="000000"/>
              </a:solidFill>
              <a:latin typeface="Arial"/>
              <a:ea typeface="Arial"/>
              <a:cs typeface="Arial"/>
              <a:sym typeface="Arial"/>
            </a:endParaRPr>
          </a:p>
        </p:txBody>
      </p:sp>
      <p:cxnSp>
        <p:nvCxnSpPr>
          <p:cNvPr id="1524" name="Google Shape;1524;p29"/>
          <p:cNvCxnSpPr>
            <a:stCxn id="1510" idx="2"/>
            <a:endCxn id="1511" idx="0"/>
          </p:cNvCxnSpPr>
          <p:nvPr/>
        </p:nvCxnSpPr>
        <p:spPr>
          <a:xfrm>
            <a:off x="4639106" y="2081521"/>
            <a:ext cx="0" cy="226200"/>
          </a:xfrm>
          <a:prstGeom prst="straightConnector1">
            <a:avLst/>
          </a:prstGeom>
          <a:noFill/>
          <a:ln w="9525" cap="flat" cmpd="sng">
            <a:solidFill>
              <a:schemeClr val="accent1"/>
            </a:solidFill>
            <a:prstDash val="solid"/>
            <a:miter lim="800000"/>
            <a:headEnd type="none" w="sm" len="sm"/>
            <a:tailEnd type="triangle" w="med" len="med"/>
          </a:ln>
        </p:spPr>
      </p:cxnSp>
      <p:cxnSp>
        <p:nvCxnSpPr>
          <p:cNvPr id="1525" name="Google Shape;1525;p29"/>
          <p:cNvCxnSpPr>
            <a:cxnSpLocks/>
            <a:stCxn id="1511" idx="2"/>
            <a:endCxn id="1519" idx="0"/>
          </p:cNvCxnSpPr>
          <p:nvPr/>
        </p:nvCxnSpPr>
        <p:spPr>
          <a:xfrm rot="16200000" flipH="1">
            <a:off x="5696756" y="2035356"/>
            <a:ext cx="378900" cy="2494200"/>
          </a:xfrm>
          <a:prstGeom prst="bentConnector3">
            <a:avLst>
              <a:gd name="adj1" fmla="val 50000"/>
            </a:avLst>
          </a:prstGeom>
          <a:noFill/>
          <a:ln w="9525" cap="flat" cmpd="sng">
            <a:solidFill>
              <a:schemeClr val="accent1"/>
            </a:solidFill>
            <a:prstDash val="solid"/>
            <a:miter lim="800000"/>
            <a:headEnd type="none" w="sm" len="sm"/>
            <a:tailEnd type="triangle" w="med" len="med"/>
          </a:ln>
        </p:spPr>
      </p:cxnSp>
      <p:cxnSp>
        <p:nvCxnSpPr>
          <p:cNvPr id="1527" name="Google Shape;1527;p29"/>
          <p:cNvCxnSpPr>
            <a:stCxn id="1512" idx="2"/>
            <a:endCxn id="1514" idx="0"/>
          </p:cNvCxnSpPr>
          <p:nvPr/>
        </p:nvCxnSpPr>
        <p:spPr>
          <a:xfrm>
            <a:off x="7133335" y="5282056"/>
            <a:ext cx="0" cy="215700"/>
          </a:xfrm>
          <a:prstGeom prst="straightConnector1">
            <a:avLst/>
          </a:prstGeom>
          <a:noFill/>
          <a:ln w="9525" cap="flat" cmpd="sng">
            <a:solidFill>
              <a:schemeClr val="accent1"/>
            </a:solidFill>
            <a:prstDash val="solid"/>
            <a:miter lim="800000"/>
            <a:headEnd type="none" w="sm" len="sm"/>
            <a:tailEnd type="triangle" w="med" len="med"/>
          </a:ln>
        </p:spPr>
      </p:cxnSp>
      <p:cxnSp>
        <p:nvCxnSpPr>
          <p:cNvPr id="1528" name="Google Shape;1528;p29"/>
          <p:cNvCxnSpPr>
            <a:stCxn id="1519" idx="2"/>
            <a:endCxn id="1512" idx="0"/>
          </p:cNvCxnSpPr>
          <p:nvPr/>
        </p:nvCxnSpPr>
        <p:spPr>
          <a:xfrm>
            <a:off x="7133335" y="3972703"/>
            <a:ext cx="0" cy="159600"/>
          </a:xfrm>
          <a:prstGeom prst="straightConnector1">
            <a:avLst/>
          </a:prstGeom>
          <a:noFill/>
          <a:ln w="9525" cap="flat" cmpd="sng">
            <a:solidFill>
              <a:schemeClr val="accent1"/>
            </a:solidFill>
            <a:prstDash val="solid"/>
            <a:miter lim="800000"/>
            <a:headEnd type="none" w="sm" len="sm"/>
            <a:tailEnd type="triangle" w="med" len="med"/>
          </a:ln>
        </p:spPr>
      </p:cxnSp>
      <p:cxnSp>
        <p:nvCxnSpPr>
          <p:cNvPr id="1529" name="Google Shape;1529;p29"/>
          <p:cNvCxnSpPr>
            <a:cxnSpLocks/>
          </p:cNvCxnSpPr>
          <p:nvPr/>
        </p:nvCxnSpPr>
        <p:spPr>
          <a:xfrm>
            <a:off x="2190035" y="4085305"/>
            <a:ext cx="0" cy="146645"/>
          </a:xfrm>
          <a:prstGeom prst="straightConnector1">
            <a:avLst/>
          </a:prstGeom>
          <a:noFill/>
          <a:ln w="9525" cap="flat" cmpd="sng">
            <a:solidFill>
              <a:schemeClr val="accent1"/>
            </a:solidFill>
            <a:prstDash val="solid"/>
            <a:miter lim="800000"/>
            <a:headEnd type="none" w="sm" len="sm"/>
            <a:tailEnd type="triangle" w="med" len="med"/>
          </a:ln>
        </p:spPr>
      </p:cxnSp>
      <p:grpSp>
        <p:nvGrpSpPr>
          <p:cNvPr id="11" name="Group 10">
            <a:extLst>
              <a:ext uri="{FF2B5EF4-FFF2-40B4-BE49-F238E27FC236}">
                <a16:creationId xmlns:a16="http://schemas.microsoft.com/office/drawing/2014/main" id="{BDC240F7-57D3-3A70-7F4A-E523AB3A4E6A}"/>
              </a:ext>
            </a:extLst>
          </p:cNvPr>
          <p:cNvGrpSpPr/>
          <p:nvPr/>
        </p:nvGrpSpPr>
        <p:grpSpPr>
          <a:xfrm>
            <a:off x="2186862" y="3275429"/>
            <a:ext cx="2453496" cy="313134"/>
            <a:chOff x="2186862" y="3275429"/>
            <a:chExt cx="2453496" cy="313134"/>
          </a:xfrm>
        </p:grpSpPr>
        <p:cxnSp>
          <p:nvCxnSpPr>
            <p:cNvPr id="6" name="Straight Arrow Connector 5">
              <a:extLst>
                <a:ext uri="{FF2B5EF4-FFF2-40B4-BE49-F238E27FC236}">
                  <a16:creationId xmlns:a16="http://schemas.microsoft.com/office/drawing/2014/main" id="{D970DF4C-2FFA-6C5A-D36C-F72AABF3CAF2}"/>
                </a:ext>
              </a:extLst>
            </p:cNvPr>
            <p:cNvCxnSpPr/>
            <p:nvPr/>
          </p:nvCxnSpPr>
          <p:spPr>
            <a:xfrm flipH="1" flipV="1">
              <a:off x="2186862" y="3275429"/>
              <a:ext cx="2453496" cy="9344"/>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9" name="Google Shape;1529;p29">
              <a:extLst>
                <a:ext uri="{FF2B5EF4-FFF2-40B4-BE49-F238E27FC236}">
                  <a16:creationId xmlns:a16="http://schemas.microsoft.com/office/drawing/2014/main" id="{F3554BBD-23E3-46A3-AC7A-440393ED9761}"/>
                </a:ext>
              </a:extLst>
            </p:cNvPr>
            <p:cNvCxnSpPr>
              <a:cxnSpLocks/>
            </p:cNvCxnSpPr>
            <p:nvPr/>
          </p:nvCxnSpPr>
          <p:spPr>
            <a:xfrm>
              <a:off x="2190034" y="3431135"/>
              <a:ext cx="0" cy="157428"/>
            </a:xfrm>
            <a:prstGeom prst="straightConnector1">
              <a:avLst/>
            </a:prstGeom>
            <a:noFill/>
            <a:ln w="9525" cap="flat" cmpd="sng">
              <a:solidFill>
                <a:schemeClr val="accent1"/>
              </a:solidFill>
              <a:prstDash val="solid"/>
              <a:miter lim="800000"/>
              <a:headEnd type="none" w="sm" len="sm"/>
              <a:tailEnd type="triangle" w="med" len="med"/>
            </a:ln>
          </p:spPr>
        </p:cxnSp>
        <p:cxnSp>
          <p:nvCxnSpPr>
            <p:cNvPr id="10" name="Straight Arrow Connector 9">
              <a:extLst>
                <a:ext uri="{FF2B5EF4-FFF2-40B4-BE49-F238E27FC236}">
                  <a16:creationId xmlns:a16="http://schemas.microsoft.com/office/drawing/2014/main" id="{7B114367-3E4E-1D9B-D210-4C315867D799}"/>
                </a:ext>
              </a:extLst>
            </p:cNvPr>
            <p:cNvCxnSpPr/>
            <p:nvPr/>
          </p:nvCxnSpPr>
          <p:spPr>
            <a:xfrm flipH="1">
              <a:off x="2187876" y="3275522"/>
              <a:ext cx="2156" cy="278203"/>
            </a:xfrm>
            <a:prstGeom prst="straightConnector1">
              <a:avLst/>
            </a:prstGeom>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534"/>
        <p:cNvGrpSpPr/>
        <p:nvPr/>
      </p:nvGrpSpPr>
      <p:grpSpPr>
        <a:xfrm>
          <a:off x="0" y="0"/>
          <a:ext cx="0" cy="0"/>
          <a:chOff x="0" y="0"/>
          <a:chExt cx="0" cy="0"/>
        </a:xfrm>
      </p:grpSpPr>
      <p:pic>
        <p:nvPicPr>
          <p:cNvPr id="1535" name="Google Shape;1535;p30" descr="A picture containing text&#10;&#10;Description automatically generated"/>
          <p:cNvPicPr preferRelativeResize="0">
            <a:picLocks noGrp="1"/>
          </p:cNvPicPr>
          <p:nvPr>
            <p:ph type="pic" idx="2"/>
          </p:nvPr>
        </p:nvPicPr>
        <p:blipFill rotWithShape="1">
          <a:blip r:embed="rId3">
            <a:alphaModFix/>
          </a:blip>
          <a:srcRect l="1881" r="22939"/>
          <a:stretch/>
        </p:blipFill>
        <p:spPr>
          <a:xfrm>
            <a:off x="6906119" y="2902413"/>
            <a:ext cx="5285883" cy="3955589"/>
          </a:xfrm>
          <a:prstGeom prst="rect">
            <a:avLst/>
          </a:prstGeom>
          <a:blipFill rotWithShape="1">
            <a:blip r:embed="rId4">
              <a:alphaModFix/>
            </a:blip>
            <a:tile tx="0" ty="0" sx="100000" sy="100000" flip="none" algn="tl"/>
          </a:blipFill>
          <a:ln>
            <a:noFill/>
          </a:ln>
          <a:effectLst>
            <a:outerShdw blurRad="190500" sx="102000" sy="102000" algn="ctr" rotWithShape="0">
              <a:srgbClr val="000000">
                <a:alpha val="20000"/>
              </a:srgbClr>
            </a:outerShdw>
          </a:effectLst>
        </p:spPr>
      </p:pic>
      <p:sp>
        <p:nvSpPr>
          <p:cNvPr id="1536" name="Google Shape;1536;p30"/>
          <p:cNvSpPr/>
          <p:nvPr/>
        </p:nvSpPr>
        <p:spPr>
          <a:xfrm>
            <a:off x="6906118" y="1"/>
            <a:ext cx="5285883" cy="2784741"/>
          </a:xfrm>
          <a:custGeom>
            <a:avLst/>
            <a:gdLst/>
            <a:ahLst/>
            <a:cxnLst/>
            <a:rect l="l" t="t" r="r" b="b"/>
            <a:pathLst>
              <a:path w="5285883" h="2784741" extrusionOk="0">
                <a:moveTo>
                  <a:pt x="0" y="0"/>
                </a:moveTo>
                <a:lnTo>
                  <a:pt x="5285883" y="0"/>
                </a:lnTo>
                <a:lnTo>
                  <a:pt x="5285883" y="2784741"/>
                </a:lnTo>
                <a:lnTo>
                  <a:pt x="149157" y="2784741"/>
                </a:lnTo>
                <a:cubicBezTo>
                  <a:pt x="66780" y="2784741"/>
                  <a:pt x="0" y="2717961"/>
                  <a:pt x="0" y="263558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37" name="Google Shape;1537;p30"/>
          <p:cNvSpPr txBox="1"/>
          <p:nvPr/>
        </p:nvSpPr>
        <p:spPr>
          <a:xfrm>
            <a:off x="381000" y="767955"/>
            <a:ext cx="5990771"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APPLICATION OF THE GLOBAL ACCREDITATION SYSTEM</a:t>
            </a:r>
            <a:endParaRPr sz="1400" b="0" i="0" u="none" strike="noStrike" cap="none">
              <a:solidFill>
                <a:srgbClr val="000000"/>
              </a:solidFill>
              <a:latin typeface="Arial"/>
              <a:ea typeface="Arial"/>
              <a:cs typeface="Arial"/>
              <a:sym typeface="Arial"/>
            </a:endParaRPr>
          </a:p>
        </p:txBody>
      </p:sp>
      <p:cxnSp>
        <p:nvCxnSpPr>
          <p:cNvPr id="1538" name="Google Shape;1538;p30"/>
          <p:cNvCxnSpPr/>
          <p:nvPr/>
        </p:nvCxnSpPr>
        <p:spPr>
          <a:xfrm>
            <a:off x="495300" y="1722062"/>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39" name="Google Shape;1539;p30"/>
          <p:cNvSpPr txBox="1"/>
          <p:nvPr/>
        </p:nvSpPr>
        <p:spPr>
          <a:xfrm>
            <a:off x="381001" y="2279875"/>
            <a:ext cx="6208486" cy="3108543"/>
          </a:xfrm>
          <a:prstGeom prst="rect">
            <a:avLst/>
          </a:prstGeom>
          <a:noFill/>
          <a:ln>
            <a:noFill/>
          </a:ln>
        </p:spPr>
        <p:txBody>
          <a:bodyPr spcFirstLastPara="1" wrap="square" lIns="91425" tIns="45700" rIns="91425" bIns="45700" anchor="t" anchorCtr="0">
            <a:spAutoFit/>
          </a:bodyPr>
          <a:lstStyle/>
          <a:p>
            <a:pPr marL="171450" indent="-171450">
              <a:buClr>
                <a:schemeClr val="accent2"/>
              </a:buClr>
              <a:buSzPts val="1400"/>
              <a:buFont typeface="Arial"/>
              <a:buChar char="•"/>
            </a:pPr>
            <a:r>
              <a:rPr lang="en-US" sz="1400" b="0" i="0" u="none" strike="noStrike" cap="none">
                <a:solidFill>
                  <a:schemeClr val="accent2"/>
                </a:solidFill>
                <a:latin typeface="Poppins"/>
                <a:ea typeface="Poppins"/>
                <a:cs typeface="Poppins"/>
                <a:sym typeface="Poppins"/>
              </a:rPr>
              <a:t>www.publicsectorassurance.org</a:t>
            </a:r>
            <a:r>
              <a:rPr lang="en-US" sz="1400" b="0" i="0" u="none" strike="noStrike" cap="none">
                <a:solidFill>
                  <a:schemeClr val="dk1"/>
                </a:solidFill>
                <a:latin typeface="Poppins"/>
                <a:ea typeface="Poppins"/>
                <a:cs typeface="Poppins"/>
                <a:sym typeface="Poppins"/>
              </a:rPr>
              <a:t> was launched by ILAC, IAF, ISO, IEC AND</a:t>
            </a:r>
            <a:r>
              <a:rPr lang="en-US">
                <a:solidFill>
                  <a:schemeClr val="dk1"/>
                </a:solidFill>
                <a:latin typeface="Poppins"/>
                <a:ea typeface="Poppins"/>
                <a:cs typeface="Poppins"/>
                <a:sym typeface="Poppins"/>
              </a:rPr>
              <a:t> IIOA (formerly IIOC) </a:t>
            </a:r>
            <a:r>
              <a:rPr lang="en-US" sz="1400" b="0" i="0" u="none" strike="noStrike" cap="none">
                <a:solidFill>
                  <a:schemeClr val="dk1"/>
                </a:solidFill>
                <a:latin typeface="Poppins"/>
                <a:ea typeface="Poppins"/>
                <a:cs typeface="Poppins"/>
                <a:sym typeface="Poppins"/>
              </a:rPr>
              <a:t>to illustrate the value of accredited conformity assessment.</a:t>
            </a:r>
            <a:r>
              <a:rPr lang="en-US">
                <a:solidFill>
                  <a:schemeClr val="dk1"/>
                </a:solidFill>
                <a:latin typeface="Poppins"/>
                <a:ea typeface="Poppins"/>
                <a:cs typeface="Poppins"/>
                <a:sym typeface="Poppins"/>
              </a:rPr>
              <a:t>  </a:t>
            </a:r>
            <a:endParaRPr sz="1400" b="0" i="0" u="none" strike="noStrike" cap="none">
              <a:solidFill>
                <a:schemeClr val="dk1"/>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It enables government officials and regulators to access international case studies in policy areas, showcasing how different tools are able to deliver results</a:t>
            </a:r>
            <a:endParaRPr sz="1400" b="0" i="0" u="none" strike="noStrike" cap="none">
              <a:solidFill>
                <a:schemeClr val="dk1"/>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The site contains links to independent research, where conformity assessment is being used in policy areas such a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Economic development</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Healthcare</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Environmental protection</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Energy</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Food safety</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Construction</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Crime and security</a:t>
            </a:r>
            <a:endParaRPr sz="1400" b="0" i="0" u="none" strike="noStrike" cap="none">
              <a:solidFill>
                <a:schemeClr val="dk1"/>
              </a:solidFill>
              <a:latin typeface="Poppins"/>
              <a:ea typeface="Poppins"/>
              <a:cs typeface="Poppins"/>
              <a:sym typeface="Poppins"/>
            </a:endParaRPr>
          </a:p>
        </p:txBody>
      </p:sp>
      <p:sp>
        <p:nvSpPr>
          <p:cNvPr id="1540" name="Google Shape;1540;p30"/>
          <p:cNvSpPr txBox="1"/>
          <p:nvPr/>
        </p:nvSpPr>
        <p:spPr>
          <a:xfrm>
            <a:off x="7210319" y="1191754"/>
            <a:ext cx="4687166" cy="116955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lt1"/>
                </a:solidFill>
                <a:latin typeface="Poppins"/>
                <a:ea typeface="Poppins"/>
                <a:cs typeface="Poppins"/>
                <a:sym typeface="Poppins"/>
              </a:rPr>
              <a:t>There are also good examples of the added value of quality infrastructure on </a:t>
            </a:r>
            <a:r>
              <a:rPr lang="en-US" sz="1400" b="0" i="0" u="none" strike="noStrike" cap="none">
                <a:solidFill>
                  <a:schemeClr val="lt1"/>
                </a:solidFill>
                <a:latin typeface="Poppins"/>
                <a:ea typeface="Poppins"/>
                <a:cs typeface="Poppins"/>
                <a:sym typeface="Poppins"/>
                <a:hlinkClick r:id="rId5">
                  <a:extLst>
                    <a:ext uri="{A12FA001-AC4F-418D-AE19-62706E023703}">
                      <ahyp:hlinkClr xmlns:ahyp="http://schemas.microsoft.com/office/drawing/2018/hyperlinkcolor" val="tx"/>
                    </a:ext>
                  </a:extLst>
                </a:hlinkClick>
              </a:rPr>
              <a:t>business-benefits.org</a:t>
            </a:r>
            <a:r>
              <a:rPr lang="en-US" sz="1400" b="0" i="0" u="none" strike="noStrike" cap="none">
                <a:solidFill>
                  <a:schemeClr val="lt1"/>
                </a:solidFill>
                <a:latin typeface="Poppins"/>
                <a:ea typeface="Poppins"/>
                <a:cs typeface="Poppins"/>
                <a:sym typeface="Poppins"/>
              </a:rPr>
              <a:t> which includes case studies, research papers, and supporting materials that confirm these benefits for the business community.</a:t>
            </a:r>
            <a:endParaRPr sz="1400" b="0" i="0" u="none" strike="noStrike" cap="none">
              <a:solidFill>
                <a:schemeClr val="lt1"/>
              </a:solidFill>
              <a:latin typeface="Arial"/>
              <a:ea typeface="Arial"/>
              <a:cs typeface="Arial"/>
              <a:sym typeface="Arial"/>
            </a:endParaRPr>
          </a:p>
        </p:txBody>
      </p:sp>
      <p:pic>
        <p:nvPicPr>
          <p:cNvPr id="1541" name="Google Shape;1541;p30"/>
          <p:cNvPicPr preferRelativeResize="0"/>
          <p:nvPr/>
        </p:nvPicPr>
        <p:blipFill rotWithShape="1">
          <a:blip r:embed="rId6">
            <a:alphaModFix/>
          </a:blip>
          <a:srcRect/>
          <a:stretch/>
        </p:blipFill>
        <p:spPr>
          <a:xfrm>
            <a:off x="7221465" y="443907"/>
            <a:ext cx="680316" cy="574017"/>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9"/>
        <p:cNvGrpSpPr/>
        <p:nvPr/>
      </p:nvGrpSpPr>
      <p:grpSpPr>
        <a:xfrm>
          <a:off x="0" y="0"/>
          <a:ext cx="0" cy="0"/>
          <a:chOff x="0" y="0"/>
          <a:chExt cx="0" cy="0"/>
        </a:xfrm>
      </p:grpSpPr>
      <p:sp>
        <p:nvSpPr>
          <p:cNvPr id="140" name="Google Shape;140;p3"/>
          <p:cNvSpPr txBox="1"/>
          <p:nvPr/>
        </p:nvSpPr>
        <p:spPr>
          <a:xfrm>
            <a:off x="3864022" y="444577"/>
            <a:ext cx="446395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GLOBAL VISION</a:t>
            </a:r>
            <a:endParaRPr sz="3200" b="1" i="0" u="none" strike="noStrike" cap="none">
              <a:solidFill>
                <a:schemeClr val="accent1"/>
              </a:solidFill>
              <a:latin typeface="Montserrat"/>
              <a:ea typeface="Montserrat"/>
              <a:cs typeface="Montserrat"/>
              <a:sym typeface="Montserrat"/>
            </a:endParaRPr>
          </a:p>
        </p:txBody>
      </p:sp>
      <p:sp>
        <p:nvSpPr>
          <p:cNvPr id="141" name="Google Shape;141;p3"/>
          <p:cNvSpPr/>
          <p:nvPr/>
        </p:nvSpPr>
        <p:spPr>
          <a:xfrm>
            <a:off x="683572" y="2197291"/>
            <a:ext cx="5142840" cy="3939134"/>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 name="Google Shape;142;p3"/>
          <p:cNvSpPr/>
          <p:nvPr/>
        </p:nvSpPr>
        <p:spPr>
          <a:xfrm>
            <a:off x="6365588" y="2197291"/>
            <a:ext cx="5142840" cy="3939134"/>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3" name="Google Shape;143;p3"/>
          <p:cNvSpPr txBox="1"/>
          <p:nvPr/>
        </p:nvSpPr>
        <p:spPr>
          <a:xfrm>
            <a:off x="2447287" y="3139449"/>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VISION </a:t>
            </a:r>
            <a:endParaRPr sz="2400" b="1" i="0" u="none" strike="noStrike" cap="none">
              <a:solidFill>
                <a:schemeClr val="dk1"/>
              </a:solidFill>
              <a:latin typeface="Poppins"/>
              <a:ea typeface="Poppins"/>
              <a:cs typeface="Poppins"/>
              <a:sym typeface="Poppins"/>
            </a:endParaRPr>
          </a:p>
        </p:txBody>
      </p:sp>
      <p:sp>
        <p:nvSpPr>
          <p:cNvPr id="144" name="Google Shape;144;p3"/>
          <p:cNvSpPr txBox="1"/>
          <p:nvPr/>
        </p:nvSpPr>
        <p:spPr>
          <a:xfrm>
            <a:off x="1242374" y="3595346"/>
            <a:ext cx="4025236"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ed once accepted everywhere.</a:t>
            </a:r>
            <a:endParaRPr sz="1400" b="0" i="0" u="none" strike="noStrike" cap="none">
              <a:solidFill>
                <a:schemeClr val="accent1"/>
              </a:solidFill>
              <a:latin typeface="Poppins"/>
              <a:ea typeface="Poppins"/>
              <a:cs typeface="Poppins"/>
              <a:sym typeface="Poppins"/>
            </a:endParaRPr>
          </a:p>
        </p:txBody>
      </p:sp>
      <p:sp>
        <p:nvSpPr>
          <p:cNvPr id="145" name="Google Shape;145;p3"/>
          <p:cNvSpPr txBox="1"/>
          <p:nvPr/>
        </p:nvSpPr>
        <p:spPr>
          <a:xfrm>
            <a:off x="2447287" y="4598591"/>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MISSION</a:t>
            </a:r>
            <a:endParaRPr sz="2400" b="1" i="0" u="none" strike="noStrike" cap="none">
              <a:solidFill>
                <a:schemeClr val="dk1"/>
              </a:solidFill>
              <a:latin typeface="Poppins"/>
              <a:ea typeface="Poppins"/>
              <a:cs typeface="Poppins"/>
              <a:sym typeface="Poppins"/>
            </a:endParaRPr>
          </a:p>
        </p:txBody>
      </p:sp>
      <p:sp>
        <p:nvSpPr>
          <p:cNvPr id="146" name="Google Shape;146;p3"/>
          <p:cNvSpPr txBox="1"/>
          <p:nvPr/>
        </p:nvSpPr>
        <p:spPr>
          <a:xfrm>
            <a:off x="980366" y="5054488"/>
            <a:ext cx="4549252"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be the global solution for the national, regional and international demonstration of equivalence of reliable results from testing, calibration, inspection and related activities in both voluntary and mandatory fields/sectors.</a:t>
            </a:r>
            <a:endParaRPr sz="1400" b="0" i="0" u="none" strike="noStrike" cap="none">
              <a:solidFill>
                <a:schemeClr val="accent1"/>
              </a:solidFill>
              <a:latin typeface="Poppins"/>
              <a:ea typeface="Poppins"/>
              <a:cs typeface="Poppins"/>
              <a:sym typeface="Poppins"/>
            </a:endParaRPr>
          </a:p>
        </p:txBody>
      </p:sp>
      <p:sp>
        <p:nvSpPr>
          <p:cNvPr id="147" name="Google Shape;147;p3"/>
          <p:cNvSpPr txBox="1"/>
          <p:nvPr/>
        </p:nvSpPr>
        <p:spPr>
          <a:xfrm>
            <a:off x="8130867" y="3139449"/>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VISION </a:t>
            </a:r>
            <a:endParaRPr sz="2400" b="1" i="0" u="none" strike="noStrike" cap="none">
              <a:solidFill>
                <a:schemeClr val="dk1"/>
              </a:solidFill>
              <a:latin typeface="Poppins"/>
              <a:ea typeface="Poppins"/>
              <a:cs typeface="Poppins"/>
              <a:sym typeface="Poppins"/>
            </a:endParaRPr>
          </a:p>
        </p:txBody>
      </p:sp>
      <p:sp>
        <p:nvSpPr>
          <p:cNvPr id="148" name="Google Shape;148;p3"/>
          <p:cNvSpPr txBox="1"/>
          <p:nvPr/>
        </p:nvSpPr>
        <p:spPr>
          <a:xfrm>
            <a:off x="6925954" y="3595346"/>
            <a:ext cx="4025236"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makes the world better.</a:t>
            </a:r>
            <a:endParaRPr sz="1400" b="0" i="0" u="none" strike="noStrike" cap="none">
              <a:solidFill>
                <a:schemeClr val="accent1"/>
              </a:solidFill>
              <a:latin typeface="Poppins"/>
              <a:ea typeface="Poppins"/>
              <a:cs typeface="Poppins"/>
              <a:sym typeface="Poppins"/>
            </a:endParaRPr>
          </a:p>
        </p:txBody>
      </p:sp>
      <p:sp>
        <p:nvSpPr>
          <p:cNvPr id="149" name="Google Shape;149;p3"/>
          <p:cNvSpPr txBox="1"/>
          <p:nvPr/>
        </p:nvSpPr>
        <p:spPr>
          <a:xfrm>
            <a:off x="8130867" y="4598591"/>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MISSION</a:t>
            </a:r>
            <a:endParaRPr sz="2400" b="1" i="0" u="none" strike="noStrike" cap="none">
              <a:solidFill>
                <a:schemeClr val="dk1"/>
              </a:solidFill>
              <a:latin typeface="Poppins"/>
              <a:ea typeface="Poppins"/>
              <a:cs typeface="Poppins"/>
              <a:sym typeface="Poppins"/>
            </a:endParaRPr>
          </a:p>
        </p:txBody>
      </p:sp>
      <p:sp>
        <p:nvSpPr>
          <p:cNvPr id="150" name="Google Shape;150;p3"/>
          <p:cNvSpPr txBox="1"/>
          <p:nvPr/>
        </p:nvSpPr>
        <p:spPr>
          <a:xfrm>
            <a:off x="6544955" y="5054488"/>
            <a:ext cx="4787234"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facilitates trade and supports sustainable development using internationally recognized accredited conformity assessment to deliver the confidence needed for market acceptance of goods and services.</a:t>
            </a:r>
            <a:endParaRPr sz="1400" b="0" i="0" u="none" strike="noStrike" cap="none">
              <a:solidFill>
                <a:schemeClr val="accent1"/>
              </a:solidFill>
              <a:latin typeface="Poppins"/>
              <a:ea typeface="Poppins"/>
              <a:cs typeface="Poppins"/>
              <a:sym typeface="Poppins"/>
            </a:endParaRPr>
          </a:p>
        </p:txBody>
      </p:sp>
      <p:pic>
        <p:nvPicPr>
          <p:cNvPr id="151" name="Google Shape;151;p3"/>
          <p:cNvPicPr preferRelativeResize="0"/>
          <p:nvPr/>
        </p:nvPicPr>
        <p:blipFill rotWithShape="1">
          <a:blip r:embed="rId3">
            <a:alphaModFix/>
          </a:blip>
          <a:srcRect/>
          <a:stretch/>
        </p:blipFill>
        <p:spPr>
          <a:xfrm>
            <a:off x="3008533" y="2564836"/>
            <a:ext cx="492919" cy="548640"/>
          </a:xfrm>
          <a:prstGeom prst="rect">
            <a:avLst/>
          </a:prstGeom>
          <a:noFill/>
          <a:ln>
            <a:noFill/>
          </a:ln>
        </p:spPr>
      </p:pic>
      <p:pic>
        <p:nvPicPr>
          <p:cNvPr id="152" name="Google Shape;152;p3"/>
          <p:cNvPicPr preferRelativeResize="0"/>
          <p:nvPr/>
        </p:nvPicPr>
        <p:blipFill rotWithShape="1">
          <a:blip r:embed="rId4">
            <a:alphaModFix/>
          </a:blip>
          <a:srcRect/>
          <a:stretch/>
        </p:blipFill>
        <p:spPr>
          <a:xfrm>
            <a:off x="3035536" y="4049951"/>
            <a:ext cx="438912" cy="548640"/>
          </a:xfrm>
          <a:prstGeom prst="rect">
            <a:avLst/>
          </a:prstGeom>
          <a:noFill/>
          <a:ln>
            <a:noFill/>
          </a:ln>
        </p:spPr>
      </p:pic>
      <p:pic>
        <p:nvPicPr>
          <p:cNvPr id="153" name="Google Shape;153;p3"/>
          <p:cNvPicPr preferRelativeResize="0"/>
          <p:nvPr/>
        </p:nvPicPr>
        <p:blipFill rotWithShape="1">
          <a:blip r:embed="rId5">
            <a:alphaModFix/>
          </a:blip>
          <a:srcRect/>
          <a:stretch/>
        </p:blipFill>
        <p:spPr>
          <a:xfrm>
            <a:off x="8690549" y="2564836"/>
            <a:ext cx="492919" cy="548640"/>
          </a:xfrm>
          <a:prstGeom prst="rect">
            <a:avLst/>
          </a:prstGeom>
          <a:noFill/>
          <a:ln>
            <a:noFill/>
          </a:ln>
        </p:spPr>
      </p:pic>
      <p:pic>
        <p:nvPicPr>
          <p:cNvPr id="154" name="Google Shape;154;p3"/>
          <p:cNvPicPr preferRelativeResize="0"/>
          <p:nvPr/>
        </p:nvPicPr>
        <p:blipFill rotWithShape="1">
          <a:blip r:embed="rId6">
            <a:alphaModFix/>
          </a:blip>
          <a:srcRect/>
          <a:stretch/>
        </p:blipFill>
        <p:spPr>
          <a:xfrm>
            <a:off x="8717552" y="4049951"/>
            <a:ext cx="438912" cy="548640"/>
          </a:xfrm>
          <a:prstGeom prst="rect">
            <a:avLst/>
          </a:prstGeom>
          <a:noFill/>
          <a:ln>
            <a:noFill/>
          </a:ln>
        </p:spPr>
      </p:pic>
      <p:sp>
        <p:nvSpPr>
          <p:cNvPr id="155" name="Google Shape;155;p3"/>
          <p:cNvSpPr/>
          <p:nvPr/>
        </p:nvSpPr>
        <p:spPr>
          <a:xfrm>
            <a:off x="2445722" y="1353665"/>
            <a:ext cx="1618540" cy="1038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6" name="Google Shape;156;p3"/>
          <p:cNvSpPr/>
          <p:nvPr/>
        </p:nvSpPr>
        <p:spPr>
          <a:xfrm>
            <a:off x="8127738" y="1353665"/>
            <a:ext cx="1618540" cy="1038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57" name="Google Shape;157;p3" descr="ilacRGB"/>
          <p:cNvPicPr preferRelativeResize="0"/>
          <p:nvPr/>
        </p:nvPicPr>
        <p:blipFill rotWithShape="1">
          <a:blip r:embed="rId7">
            <a:alphaModFix/>
          </a:blip>
          <a:srcRect/>
          <a:stretch/>
        </p:blipFill>
        <p:spPr>
          <a:xfrm>
            <a:off x="2864543" y="1485078"/>
            <a:ext cx="780898" cy="782156"/>
          </a:xfrm>
          <a:prstGeom prst="rect">
            <a:avLst/>
          </a:prstGeom>
          <a:noFill/>
          <a:ln>
            <a:noFill/>
          </a:ln>
        </p:spPr>
      </p:pic>
      <p:pic>
        <p:nvPicPr>
          <p:cNvPr id="158" name="Google Shape;158;p3" descr="A picture containing logo&#10;&#10;Description automatically generated"/>
          <p:cNvPicPr preferRelativeResize="0"/>
          <p:nvPr/>
        </p:nvPicPr>
        <p:blipFill rotWithShape="1">
          <a:blip r:embed="rId8">
            <a:alphaModFix/>
          </a:blip>
          <a:srcRect/>
          <a:stretch/>
        </p:blipFill>
        <p:spPr>
          <a:xfrm>
            <a:off x="8411000" y="1545024"/>
            <a:ext cx="1067184" cy="666678"/>
          </a:xfrm>
          <a:prstGeom prst="rect">
            <a:avLst/>
          </a:prstGeom>
          <a:noFill/>
          <a:ln>
            <a:noFill/>
          </a:ln>
        </p:spPr>
      </p:pic>
      <p:cxnSp>
        <p:nvCxnSpPr>
          <p:cNvPr id="159" name="Google Shape;159;p3"/>
          <p:cNvCxnSpPr/>
          <p:nvPr/>
        </p:nvCxnSpPr>
        <p:spPr>
          <a:xfrm>
            <a:off x="5529618" y="1101168"/>
            <a:ext cx="1132764" cy="0"/>
          </a:xfrm>
          <a:prstGeom prst="straightConnector1">
            <a:avLst/>
          </a:prstGeom>
          <a:noFill/>
          <a:ln w="19050" cap="flat" cmpd="sng">
            <a:solidFill>
              <a:schemeClr val="accent1"/>
            </a:solidFill>
            <a:prstDash val="solid"/>
            <a:miter lim="800000"/>
            <a:headEnd type="none" w="sm" len="sm"/>
            <a:tailEnd type="none" w="sm" len="sm"/>
          </a:ln>
        </p:spPr>
      </p:cxn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545"/>
        <p:cNvGrpSpPr/>
        <p:nvPr/>
      </p:nvGrpSpPr>
      <p:grpSpPr>
        <a:xfrm>
          <a:off x="0" y="0"/>
          <a:ext cx="0" cy="0"/>
          <a:chOff x="0" y="0"/>
          <a:chExt cx="0" cy="0"/>
        </a:xfrm>
      </p:grpSpPr>
      <p:sp>
        <p:nvSpPr>
          <p:cNvPr id="1546" name="Google Shape;1546;p31"/>
          <p:cNvSpPr txBox="1"/>
          <p:nvPr/>
        </p:nvSpPr>
        <p:spPr>
          <a:xfrm>
            <a:off x="850900" y="1039471"/>
            <a:ext cx="10490200"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Both organisations publish documents that set out the rules, policies and procedures that members must adhere to. Guidance and informative documents are also available to share best practice and ensure a common interpretation of accreditation practices. </a:t>
            </a:r>
            <a:endParaRPr sz="1400" b="0" i="0" u="none" strike="noStrike" cap="none">
              <a:solidFill>
                <a:srgbClr val="000000"/>
              </a:solidFill>
              <a:latin typeface="Arial"/>
              <a:ea typeface="Arial"/>
              <a:cs typeface="Arial"/>
              <a:sym typeface="Arial"/>
            </a:endParaRPr>
          </a:p>
        </p:txBody>
      </p:sp>
      <p:sp>
        <p:nvSpPr>
          <p:cNvPr id="1547" name="Google Shape;1547;p31"/>
          <p:cNvSpPr txBox="1"/>
          <p:nvPr/>
        </p:nvSpPr>
        <p:spPr>
          <a:xfrm>
            <a:off x="1289538" y="373972"/>
            <a:ext cx="96129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DOCUMENTS AND PUBLICATIONS</a:t>
            </a:r>
            <a:endParaRPr sz="1400" b="0" i="0" u="none" strike="noStrike" cap="none">
              <a:solidFill>
                <a:srgbClr val="000000"/>
              </a:solidFill>
              <a:latin typeface="Arial"/>
              <a:ea typeface="Arial"/>
              <a:cs typeface="Arial"/>
              <a:sym typeface="Arial"/>
            </a:endParaRPr>
          </a:p>
        </p:txBody>
      </p:sp>
      <p:cxnSp>
        <p:nvCxnSpPr>
          <p:cNvPr id="1548" name="Google Shape;1548;p31"/>
          <p:cNvCxnSpPr/>
          <p:nvPr/>
        </p:nvCxnSpPr>
        <p:spPr>
          <a:xfrm>
            <a:off x="5529618" y="967532"/>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49" name="Google Shape;1549;p31"/>
          <p:cNvSpPr/>
          <p:nvPr/>
        </p:nvSpPr>
        <p:spPr>
          <a:xfrm>
            <a:off x="638302" y="1635436"/>
            <a:ext cx="5181273" cy="3898588"/>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50" name="Google Shape;1550;p31"/>
          <p:cNvSpPr/>
          <p:nvPr/>
        </p:nvSpPr>
        <p:spPr>
          <a:xfrm>
            <a:off x="6372425" y="1635435"/>
            <a:ext cx="5181273" cy="3898589"/>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51" name="Google Shape;1551;p31"/>
          <p:cNvSpPr txBox="1"/>
          <p:nvPr/>
        </p:nvSpPr>
        <p:spPr>
          <a:xfrm>
            <a:off x="1056821" y="2476810"/>
            <a:ext cx="4533900"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Brochures (B Serie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General ILAC brochures or promotional publications</a:t>
            </a:r>
            <a:endParaRPr sz="1400" b="0" i="0" u="none" strike="noStrike" cap="none">
              <a:solidFill>
                <a:srgbClr val="000000"/>
              </a:solidFill>
              <a:latin typeface="Arial"/>
              <a:ea typeface="Arial"/>
              <a:cs typeface="Arial"/>
              <a:sym typeface="Arial"/>
            </a:endParaRPr>
          </a:p>
        </p:txBody>
      </p:sp>
      <p:sp>
        <p:nvSpPr>
          <p:cNvPr id="1552" name="Google Shape;1552;p31"/>
          <p:cNvSpPr txBox="1"/>
          <p:nvPr/>
        </p:nvSpPr>
        <p:spPr>
          <a:xfrm>
            <a:off x="1056821" y="2921405"/>
            <a:ext cx="453390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Guidance (G Serie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interpretation of accreditation criteria for specific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pplications for accreditation bodies and accredited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organisations. </a:t>
            </a:r>
            <a:endParaRPr sz="1400" b="0" i="0" u="none" strike="noStrike" cap="none">
              <a:solidFill>
                <a:srgbClr val="000000"/>
              </a:solidFill>
              <a:latin typeface="Arial"/>
              <a:ea typeface="Arial"/>
              <a:cs typeface="Arial"/>
              <a:sym typeface="Arial"/>
            </a:endParaRPr>
          </a:p>
        </p:txBody>
      </p:sp>
      <p:sp>
        <p:nvSpPr>
          <p:cNvPr id="1553" name="Google Shape;1553;p31"/>
          <p:cNvSpPr txBox="1"/>
          <p:nvPr/>
        </p:nvSpPr>
        <p:spPr>
          <a:xfrm>
            <a:off x="1056821" y="3763019"/>
            <a:ext cx="453390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Rules (R Series) - Rules (Requirement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Documents including the Articles and Bylaws and other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documents covering the operation of ILAC as an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corporated entity. </a:t>
            </a:r>
            <a:endParaRPr sz="1400" b="0" i="0" u="none" strike="noStrike" cap="none">
              <a:solidFill>
                <a:srgbClr val="000000"/>
              </a:solidFill>
              <a:latin typeface="Arial"/>
              <a:ea typeface="Arial"/>
              <a:cs typeface="Arial"/>
              <a:sym typeface="Arial"/>
            </a:endParaRPr>
          </a:p>
        </p:txBody>
      </p:sp>
      <p:sp>
        <p:nvSpPr>
          <p:cNvPr id="1554" name="Google Shape;1554;p31"/>
          <p:cNvSpPr txBox="1"/>
          <p:nvPr/>
        </p:nvSpPr>
        <p:spPr>
          <a:xfrm>
            <a:off x="1056821" y="4604634"/>
            <a:ext cx="453390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Procedural (P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cedural and policy publications for the operation of the ILAC Arrangement, and which form part of the criteria for ILAC Arrangement evaluations.</a:t>
            </a:r>
            <a:endParaRPr sz="1400" b="0" i="0" u="none" strike="noStrike" cap="none">
              <a:solidFill>
                <a:srgbClr val="000000"/>
              </a:solidFill>
              <a:latin typeface="Arial"/>
              <a:ea typeface="Arial"/>
              <a:cs typeface="Arial"/>
              <a:sym typeface="Arial"/>
            </a:endParaRPr>
          </a:p>
        </p:txBody>
      </p:sp>
      <p:sp>
        <p:nvSpPr>
          <p:cNvPr id="1555" name="Google Shape;1555;p31"/>
          <p:cNvSpPr txBox="1"/>
          <p:nvPr/>
        </p:nvSpPr>
        <p:spPr>
          <a:xfrm>
            <a:off x="6601278" y="2497743"/>
            <a:ext cx="4739819"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General Information and Promotional Document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raise awareness and understanding of IAF</a:t>
            </a:r>
            <a:endParaRPr sz="1400" b="0" i="0" u="none" strike="noStrike" cap="none">
              <a:solidFill>
                <a:srgbClr val="000000"/>
              </a:solidFill>
              <a:latin typeface="Arial"/>
              <a:ea typeface="Arial"/>
              <a:cs typeface="Arial"/>
              <a:sym typeface="Arial"/>
            </a:endParaRPr>
          </a:p>
        </p:txBody>
      </p:sp>
      <p:sp>
        <p:nvSpPr>
          <p:cNvPr id="1556" name="Google Shape;1556;p31"/>
          <p:cNvSpPr txBox="1"/>
          <p:nvPr/>
        </p:nvSpPr>
        <p:spPr>
          <a:xfrm>
            <a:off x="6601279" y="2974325"/>
            <a:ext cx="4739820"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Policy Documents (PL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and Member policy requirements</a:t>
            </a:r>
            <a:endParaRPr sz="1400" b="0" i="0" u="none" strike="noStrike" cap="none">
              <a:solidFill>
                <a:srgbClr val="000000"/>
              </a:solidFill>
              <a:latin typeface="Arial"/>
              <a:ea typeface="Arial"/>
              <a:cs typeface="Arial"/>
              <a:sym typeface="Arial"/>
            </a:endParaRPr>
          </a:p>
        </p:txBody>
      </p:sp>
      <p:sp>
        <p:nvSpPr>
          <p:cNvPr id="1557" name="Google Shape;1557;p31"/>
          <p:cNvSpPr txBox="1"/>
          <p:nvPr/>
        </p:nvSpPr>
        <p:spPr>
          <a:xfrm>
            <a:off x="6601278" y="3450907"/>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MLA Documents (ML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olicy and procedures to support the operation of the MLA</a:t>
            </a:r>
            <a:endParaRPr sz="1400" b="0" i="0" u="none" strike="noStrike" cap="none">
              <a:solidFill>
                <a:srgbClr val="000000"/>
              </a:solidFill>
              <a:latin typeface="Arial"/>
              <a:ea typeface="Arial"/>
              <a:cs typeface="Arial"/>
              <a:sym typeface="Arial"/>
            </a:endParaRPr>
          </a:p>
        </p:txBody>
      </p:sp>
      <p:sp>
        <p:nvSpPr>
          <p:cNvPr id="1558" name="Google Shape;1558;p31"/>
          <p:cNvSpPr txBox="1"/>
          <p:nvPr/>
        </p:nvSpPr>
        <p:spPr>
          <a:xfrm>
            <a:off x="6601278" y="3927489"/>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Informative Documents (ID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support the consistent application of requirements </a:t>
            </a:r>
            <a:endParaRPr sz="1400" b="0" i="0" u="none" strike="noStrike" cap="none">
              <a:solidFill>
                <a:srgbClr val="000000"/>
              </a:solidFill>
              <a:latin typeface="Arial"/>
              <a:ea typeface="Arial"/>
              <a:cs typeface="Arial"/>
              <a:sym typeface="Arial"/>
            </a:endParaRPr>
          </a:p>
        </p:txBody>
      </p:sp>
      <p:sp>
        <p:nvSpPr>
          <p:cNvPr id="1559" name="Google Shape;1559;p31"/>
          <p:cNvSpPr txBox="1"/>
          <p:nvPr/>
        </p:nvSpPr>
        <p:spPr>
          <a:xfrm>
            <a:off x="6601278" y="4404071"/>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Mandatory Documents (MD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andatory documents to be used by ABs and CABs </a:t>
            </a:r>
            <a:endParaRPr sz="1400" b="0" i="0" u="none" strike="noStrike" cap="none">
              <a:solidFill>
                <a:srgbClr val="000000"/>
              </a:solidFill>
              <a:latin typeface="Arial"/>
              <a:ea typeface="Arial"/>
              <a:cs typeface="Arial"/>
              <a:sym typeface="Arial"/>
            </a:endParaRPr>
          </a:p>
        </p:txBody>
      </p:sp>
      <p:sp>
        <p:nvSpPr>
          <p:cNvPr id="1560" name="Google Shape;1560;p31"/>
          <p:cNvSpPr txBox="1"/>
          <p:nvPr/>
        </p:nvSpPr>
        <p:spPr>
          <a:xfrm>
            <a:off x="6601278" y="4880654"/>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Procedures Documents (PR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cedures to follow in implementing the IAF programs </a:t>
            </a:r>
            <a:endParaRPr sz="1400" b="0" i="0" u="none" strike="noStrike" cap="none">
              <a:solidFill>
                <a:srgbClr val="000000"/>
              </a:solidFill>
              <a:latin typeface="Arial"/>
              <a:ea typeface="Arial"/>
              <a:cs typeface="Arial"/>
              <a:sym typeface="Arial"/>
            </a:endParaRPr>
          </a:p>
        </p:txBody>
      </p:sp>
      <p:sp>
        <p:nvSpPr>
          <p:cNvPr id="1561" name="Google Shape;1561;p31"/>
          <p:cNvSpPr txBox="1"/>
          <p:nvPr/>
        </p:nvSpPr>
        <p:spPr>
          <a:xfrm>
            <a:off x="3273083" y="5722313"/>
            <a:ext cx="5645834"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accent1"/>
                </a:solidFill>
                <a:latin typeface="Poppins"/>
                <a:ea typeface="Poppins"/>
                <a:cs typeface="Poppins"/>
                <a:sym typeface="Poppins"/>
              </a:rPr>
              <a:t>Joint IAF / ILAC (A Series) –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Joint IAF and ILAC documents used for the evaluation of regions and unaffiliated bodies.</a:t>
            </a:r>
            <a:endParaRPr sz="1400" b="0" i="0" u="none" strike="noStrike" cap="none">
              <a:solidFill>
                <a:srgbClr val="000000"/>
              </a:solidFill>
              <a:latin typeface="Arial"/>
              <a:ea typeface="Arial"/>
              <a:cs typeface="Arial"/>
              <a:sym typeface="Arial"/>
            </a:endParaRPr>
          </a:p>
        </p:txBody>
      </p:sp>
      <p:pic>
        <p:nvPicPr>
          <p:cNvPr id="1562" name="Google Shape;1562;p31" descr="ilacRGB"/>
          <p:cNvPicPr preferRelativeResize="0"/>
          <p:nvPr/>
        </p:nvPicPr>
        <p:blipFill rotWithShape="1">
          <a:blip r:embed="rId3">
            <a:alphaModFix/>
          </a:blip>
          <a:srcRect/>
          <a:stretch/>
        </p:blipFill>
        <p:spPr>
          <a:xfrm>
            <a:off x="1130640" y="1762275"/>
            <a:ext cx="674426" cy="675512"/>
          </a:xfrm>
          <a:prstGeom prst="rect">
            <a:avLst/>
          </a:prstGeom>
          <a:noFill/>
          <a:ln>
            <a:noFill/>
          </a:ln>
        </p:spPr>
      </p:pic>
      <p:pic>
        <p:nvPicPr>
          <p:cNvPr id="1563" name="Google Shape;1563;p31" descr="A picture containing logo&#10;&#10;Description automatically generated"/>
          <p:cNvPicPr preferRelativeResize="0"/>
          <p:nvPr/>
        </p:nvPicPr>
        <p:blipFill rotWithShape="1">
          <a:blip r:embed="rId4">
            <a:alphaModFix/>
          </a:blip>
          <a:srcRect/>
          <a:stretch/>
        </p:blipFill>
        <p:spPr>
          <a:xfrm>
            <a:off x="6700056" y="1762275"/>
            <a:ext cx="880254" cy="549902"/>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567"/>
        <p:cNvGrpSpPr/>
        <p:nvPr/>
      </p:nvGrpSpPr>
      <p:grpSpPr>
        <a:xfrm>
          <a:off x="0" y="0"/>
          <a:ext cx="0" cy="0"/>
          <a:chOff x="0" y="0"/>
          <a:chExt cx="0" cy="0"/>
        </a:xfrm>
      </p:grpSpPr>
      <p:sp>
        <p:nvSpPr>
          <p:cNvPr id="1568" name="Google Shape;1568;p32"/>
          <p:cNvSpPr txBox="1"/>
          <p:nvPr/>
        </p:nvSpPr>
        <p:spPr>
          <a:xfrm>
            <a:off x="1289539" y="282759"/>
            <a:ext cx="96129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MEMBERSHIP TYPES</a:t>
            </a:r>
            <a:endParaRPr sz="1400" b="0" i="0" u="none" strike="noStrike" cap="none">
              <a:solidFill>
                <a:srgbClr val="000000"/>
              </a:solidFill>
              <a:latin typeface="Arial"/>
              <a:ea typeface="Arial"/>
              <a:cs typeface="Arial"/>
              <a:sym typeface="Arial"/>
            </a:endParaRPr>
          </a:p>
        </p:txBody>
      </p:sp>
      <p:cxnSp>
        <p:nvCxnSpPr>
          <p:cNvPr id="1569" name="Google Shape;1569;p32"/>
          <p:cNvCxnSpPr/>
          <p:nvPr/>
        </p:nvCxnSpPr>
        <p:spPr>
          <a:xfrm>
            <a:off x="5529618" y="87631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70" name="Google Shape;1570;p32"/>
          <p:cNvSpPr/>
          <p:nvPr/>
        </p:nvSpPr>
        <p:spPr>
          <a:xfrm>
            <a:off x="503975" y="1099975"/>
            <a:ext cx="5449800" cy="4611900"/>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71" name="Google Shape;1571;p32"/>
          <p:cNvSpPr/>
          <p:nvPr/>
        </p:nvSpPr>
        <p:spPr>
          <a:xfrm>
            <a:off x="6238100" y="1099975"/>
            <a:ext cx="5449800" cy="4611900"/>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72" name="Google Shape;1572;p32"/>
          <p:cNvSpPr txBox="1"/>
          <p:nvPr/>
        </p:nvSpPr>
        <p:spPr>
          <a:xfrm>
            <a:off x="708644" y="2013491"/>
            <a:ext cx="438792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Full Members (Signato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that have been accepted as signatories to the ILAC MRA, and abide by its terms and conditions and by the ILAC evaluation procedures. </a:t>
            </a:r>
            <a:endParaRPr sz="1400" b="0" i="0" u="none" strike="noStrike" cap="none">
              <a:solidFill>
                <a:srgbClr val="000000"/>
              </a:solidFill>
              <a:latin typeface="Arial"/>
              <a:ea typeface="Arial"/>
              <a:cs typeface="Arial"/>
              <a:sym typeface="Arial"/>
            </a:endParaRPr>
          </a:p>
        </p:txBody>
      </p:sp>
      <p:pic>
        <p:nvPicPr>
          <p:cNvPr id="1573" name="Google Shape;1573;p32" descr="ilacRGB"/>
          <p:cNvPicPr preferRelativeResize="0"/>
          <p:nvPr/>
        </p:nvPicPr>
        <p:blipFill rotWithShape="1">
          <a:blip r:embed="rId3">
            <a:alphaModFix/>
          </a:blip>
          <a:srcRect/>
          <a:stretch/>
        </p:blipFill>
        <p:spPr>
          <a:xfrm>
            <a:off x="2891727" y="1244782"/>
            <a:ext cx="674426" cy="675512"/>
          </a:xfrm>
          <a:prstGeom prst="rect">
            <a:avLst/>
          </a:prstGeom>
          <a:noFill/>
          <a:ln>
            <a:noFill/>
          </a:ln>
        </p:spPr>
      </p:pic>
      <p:pic>
        <p:nvPicPr>
          <p:cNvPr id="1574" name="Google Shape;1574;p32" descr="A picture containing logo&#10;&#10;Description automatically generated"/>
          <p:cNvPicPr preferRelativeResize="0"/>
          <p:nvPr/>
        </p:nvPicPr>
        <p:blipFill rotWithShape="1">
          <a:blip r:embed="rId4">
            <a:alphaModFix/>
          </a:blip>
          <a:srcRect/>
          <a:stretch/>
        </p:blipFill>
        <p:spPr>
          <a:xfrm>
            <a:off x="8522934" y="1307587"/>
            <a:ext cx="880254" cy="549902"/>
          </a:xfrm>
          <a:prstGeom prst="rect">
            <a:avLst/>
          </a:prstGeom>
          <a:noFill/>
          <a:ln>
            <a:noFill/>
          </a:ln>
        </p:spPr>
      </p:pic>
      <p:sp>
        <p:nvSpPr>
          <p:cNvPr id="1575" name="Google Shape;1575;p32"/>
          <p:cNvSpPr txBox="1"/>
          <p:nvPr/>
        </p:nvSpPr>
        <p:spPr>
          <a:xfrm>
            <a:off x="708644" y="2850113"/>
            <a:ext cx="4820974"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ssociat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not yet signatories to the ILAC MRA, that carry out accreditation of  conformity assessment that is officially recognised in that economy.  </a:t>
            </a:r>
            <a:endParaRPr sz="1400" b="0" i="0" u="none" strike="noStrike" cap="none">
              <a:solidFill>
                <a:srgbClr val="000000"/>
              </a:solidFill>
              <a:latin typeface="Arial"/>
              <a:ea typeface="Arial"/>
              <a:cs typeface="Arial"/>
              <a:sym typeface="Arial"/>
            </a:endParaRPr>
          </a:p>
        </p:txBody>
      </p:sp>
      <p:sp>
        <p:nvSpPr>
          <p:cNvPr id="1576" name="Google Shape;1576;p32"/>
          <p:cNvSpPr txBox="1"/>
          <p:nvPr/>
        </p:nvSpPr>
        <p:spPr>
          <a:xfrm>
            <a:off x="708644" y="3686735"/>
            <a:ext cx="48210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endParaRPr sz="1400" b="0" i="0" u="none" strike="noStrike" cap="none">
              <a:solidFill>
                <a:srgbClr val="000000"/>
              </a:solidFill>
              <a:latin typeface="Arial"/>
              <a:ea typeface="Arial"/>
              <a:cs typeface="Arial"/>
              <a:sym typeface="Arial"/>
            </a:endParaRPr>
          </a:p>
        </p:txBody>
      </p:sp>
      <p:sp>
        <p:nvSpPr>
          <p:cNvPr id="1577" name="Google Shape;1577;p32"/>
          <p:cNvSpPr txBox="1"/>
          <p:nvPr/>
        </p:nvSpPr>
        <p:spPr>
          <a:xfrm>
            <a:off x="708644" y="3686716"/>
            <a:ext cx="5181300" cy="1015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Regional Cooperation Bod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Formally established regional cooperations having objectives similar to and compatible with ILAC, which are committed to the obligations of the ILAC MRA and which consist of at least four economies.</a:t>
            </a:r>
            <a:endParaRPr sz="1400" b="0" i="0" u="none" strike="noStrike" cap="none">
              <a:solidFill>
                <a:srgbClr val="000000"/>
              </a:solidFill>
              <a:latin typeface="Arial"/>
              <a:ea typeface="Arial"/>
              <a:cs typeface="Arial"/>
              <a:sym typeface="Arial"/>
            </a:endParaRPr>
          </a:p>
        </p:txBody>
      </p:sp>
      <p:sp>
        <p:nvSpPr>
          <p:cNvPr id="1578" name="Google Shape;1578;p32"/>
          <p:cNvSpPr txBox="1"/>
          <p:nvPr/>
        </p:nvSpPr>
        <p:spPr>
          <a:xfrm>
            <a:off x="708657" y="4708154"/>
            <a:ext cx="5181300" cy="6465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Stakeholde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presentative international, regional and national organizations having an interest in the work of ILAC.</a:t>
            </a:r>
            <a:endParaRPr sz="1400" b="0" i="0" u="none" strike="noStrike" cap="none">
              <a:solidFill>
                <a:srgbClr val="000000"/>
              </a:solidFill>
              <a:latin typeface="Arial"/>
              <a:ea typeface="Arial"/>
              <a:cs typeface="Arial"/>
              <a:sym typeface="Arial"/>
            </a:endParaRPr>
          </a:p>
        </p:txBody>
      </p:sp>
      <p:sp>
        <p:nvSpPr>
          <p:cNvPr id="1579" name="Google Shape;1579;p32"/>
          <p:cNvSpPr txBox="1"/>
          <p:nvPr/>
        </p:nvSpPr>
        <p:spPr>
          <a:xfrm>
            <a:off x="6399314" y="2055748"/>
            <a:ext cx="5010366" cy="138499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ccreditation Body Membe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that accredit bodies for validation/</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erification and certification of management system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ducts, processes, services and personnel, as well a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for other programmes of conformity assessment.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y members must declare their intention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join the IAF MLA.</a:t>
            </a:r>
            <a:endParaRPr sz="1400" b="0" i="0" u="none" strike="noStrike" cap="none">
              <a:solidFill>
                <a:srgbClr val="000000"/>
              </a:solidFill>
              <a:latin typeface="Arial"/>
              <a:ea typeface="Arial"/>
              <a:cs typeface="Arial"/>
              <a:sym typeface="Arial"/>
            </a:endParaRPr>
          </a:p>
        </p:txBody>
      </p:sp>
      <p:sp>
        <p:nvSpPr>
          <p:cNvPr id="1580" name="Google Shape;1580;p32"/>
          <p:cNvSpPr txBox="1"/>
          <p:nvPr/>
        </p:nvSpPr>
        <p:spPr>
          <a:xfrm>
            <a:off x="6399314" y="3415219"/>
            <a:ext cx="5010366"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ssociation Membe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Organisations involved in the use or implementation of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certification or validation/verification systems.</a:t>
            </a:r>
            <a:endParaRPr sz="1400" b="0" i="0" u="none" strike="noStrike" cap="none">
              <a:solidFill>
                <a:srgbClr val="000000"/>
              </a:solidFill>
              <a:latin typeface="Arial"/>
              <a:ea typeface="Arial"/>
              <a:cs typeface="Arial"/>
              <a:sym typeface="Arial"/>
            </a:endParaRPr>
          </a:p>
        </p:txBody>
      </p:sp>
      <p:sp>
        <p:nvSpPr>
          <p:cNvPr id="1581" name="Google Shape;1581;p32"/>
          <p:cNvSpPr txBox="1"/>
          <p:nvPr/>
        </p:nvSpPr>
        <p:spPr>
          <a:xfrm>
            <a:off x="6399314" y="4097580"/>
            <a:ext cx="5010366"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Regional Accreditation Group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gional groupings of Accreditation Bodies whose aim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clude the maintenance of Regional Multilateral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cognition Arrangements recognising the equivalence of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ir members' accreditation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585"/>
        <p:cNvGrpSpPr/>
        <p:nvPr/>
      </p:nvGrpSpPr>
      <p:grpSpPr>
        <a:xfrm>
          <a:off x="0" y="0"/>
          <a:ext cx="0" cy="0"/>
          <a:chOff x="0" y="0"/>
          <a:chExt cx="0" cy="0"/>
        </a:xfrm>
      </p:grpSpPr>
      <p:sp>
        <p:nvSpPr>
          <p:cNvPr id="1586" name="Google Shape;1586;p33"/>
          <p:cNvSpPr txBox="1"/>
          <p:nvPr/>
        </p:nvSpPr>
        <p:spPr>
          <a:xfrm>
            <a:off x="4201553" y="347137"/>
            <a:ext cx="37888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LAC PARTNERS</a:t>
            </a:r>
            <a:endParaRPr sz="1400" b="0" i="0" u="none" strike="noStrike" cap="none">
              <a:solidFill>
                <a:srgbClr val="000000"/>
              </a:solidFill>
              <a:latin typeface="Arial"/>
              <a:ea typeface="Arial"/>
              <a:cs typeface="Arial"/>
              <a:sym typeface="Arial"/>
            </a:endParaRPr>
          </a:p>
        </p:txBody>
      </p:sp>
      <p:cxnSp>
        <p:nvCxnSpPr>
          <p:cNvPr id="1587" name="Google Shape;1587;p33"/>
          <p:cNvCxnSpPr/>
          <p:nvPr/>
        </p:nvCxnSpPr>
        <p:spPr>
          <a:xfrm>
            <a:off x="5529618" y="94069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88" name="Google Shape;1588;p33"/>
          <p:cNvSpPr txBox="1"/>
          <p:nvPr/>
        </p:nvSpPr>
        <p:spPr>
          <a:xfrm>
            <a:off x="1038568" y="2478144"/>
            <a:ext cx="200206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Accreditation Forum</a:t>
            </a:r>
            <a:endParaRPr sz="1400" b="0" i="0" u="none" strike="noStrike" cap="none">
              <a:solidFill>
                <a:srgbClr val="000000"/>
              </a:solidFill>
              <a:latin typeface="Arial"/>
              <a:ea typeface="Arial"/>
              <a:cs typeface="Arial"/>
              <a:sym typeface="Arial"/>
            </a:endParaRPr>
          </a:p>
        </p:txBody>
      </p:sp>
      <p:sp>
        <p:nvSpPr>
          <p:cNvPr id="1589" name="Google Shape;1589;p33"/>
          <p:cNvSpPr txBox="1"/>
          <p:nvPr/>
        </p:nvSpPr>
        <p:spPr>
          <a:xfrm>
            <a:off x="3742835" y="2478144"/>
            <a:ext cx="2011680"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orld Anti-Doping Agency</a:t>
            </a:r>
            <a:endParaRPr sz="1400" b="0" i="0" u="none" strike="noStrike" cap="none">
              <a:solidFill>
                <a:srgbClr val="000000"/>
              </a:solidFill>
              <a:latin typeface="Arial"/>
              <a:ea typeface="Arial"/>
              <a:cs typeface="Arial"/>
              <a:sym typeface="Arial"/>
            </a:endParaRPr>
          </a:p>
        </p:txBody>
      </p:sp>
      <p:sp>
        <p:nvSpPr>
          <p:cNvPr id="1590" name="Google Shape;1590;p33"/>
          <p:cNvSpPr txBox="1"/>
          <p:nvPr/>
        </p:nvSpPr>
        <p:spPr>
          <a:xfrm>
            <a:off x="6252170" y="2478144"/>
            <a:ext cx="2391928"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Organization of Legal Metrology</a:t>
            </a:r>
            <a:endParaRPr sz="1400" b="0" i="0" u="none" strike="noStrike" cap="none">
              <a:solidFill>
                <a:srgbClr val="000000"/>
              </a:solidFill>
              <a:latin typeface="Arial"/>
              <a:ea typeface="Arial"/>
              <a:cs typeface="Arial"/>
              <a:sym typeface="Arial"/>
            </a:endParaRPr>
          </a:p>
        </p:txBody>
      </p:sp>
      <p:sp>
        <p:nvSpPr>
          <p:cNvPr id="1591" name="Google Shape;1591;p33"/>
          <p:cNvSpPr txBox="1"/>
          <p:nvPr/>
        </p:nvSpPr>
        <p:spPr>
          <a:xfrm>
            <a:off x="8854482" y="2478144"/>
            <a:ext cx="2595838"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Electrotechnical Commission</a:t>
            </a:r>
            <a:endParaRPr sz="1400" b="0" i="0" u="none" strike="noStrike" cap="none">
              <a:solidFill>
                <a:srgbClr val="000000"/>
              </a:solidFill>
              <a:latin typeface="Arial"/>
              <a:ea typeface="Arial"/>
              <a:cs typeface="Arial"/>
              <a:sym typeface="Arial"/>
            </a:endParaRPr>
          </a:p>
        </p:txBody>
      </p:sp>
      <p:sp>
        <p:nvSpPr>
          <p:cNvPr id="1592" name="Google Shape;1592;p33"/>
          <p:cNvSpPr txBox="1"/>
          <p:nvPr/>
        </p:nvSpPr>
        <p:spPr>
          <a:xfrm>
            <a:off x="988258" y="4051088"/>
            <a:ext cx="2102684"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Federation of Clinical Chemistry and Laboratory Medicine </a:t>
            </a:r>
            <a:endParaRPr sz="1400" b="0" i="0" u="none" strike="noStrike" cap="none">
              <a:solidFill>
                <a:srgbClr val="000000"/>
              </a:solidFill>
              <a:latin typeface="Arial"/>
              <a:ea typeface="Arial"/>
              <a:cs typeface="Arial"/>
              <a:sym typeface="Arial"/>
            </a:endParaRPr>
          </a:p>
        </p:txBody>
      </p:sp>
      <p:sp>
        <p:nvSpPr>
          <p:cNvPr id="1593" name="Google Shape;1593;p33"/>
          <p:cNvSpPr txBox="1"/>
          <p:nvPr/>
        </p:nvSpPr>
        <p:spPr>
          <a:xfrm>
            <a:off x="6114804" y="4051088"/>
            <a:ext cx="237895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UN Industrial Development </a:t>
            </a:r>
            <a:r>
              <a:rPr lang="en-US" sz="1200" b="0" i="0" u="none" strike="noStrike" cap="none" err="1">
                <a:solidFill>
                  <a:schemeClr val="dk1"/>
                </a:solidFill>
                <a:latin typeface="Poppins"/>
                <a:ea typeface="Poppins"/>
                <a:cs typeface="Poppins"/>
                <a:sym typeface="Poppins"/>
              </a:rPr>
              <a:t>Organisation</a:t>
            </a:r>
            <a:endParaRPr sz="1200" b="0" i="0" u="none" strike="noStrike" cap="none" err="1">
              <a:solidFill>
                <a:schemeClr val="dk1"/>
              </a:solidFill>
              <a:latin typeface="Poppins"/>
              <a:ea typeface="Poppins"/>
              <a:cs typeface="Poppins"/>
              <a:sym typeface="Poppins"/>
            </a:endParaRPr>
          </a:p>
        </p:txBody>
      </p:sp>
      <p:sp>
        <p:nvSpPr>
          <p:cNvPr id="1594" name="Google Shape;1594;p33"/>
          <p:cNvSpPr txBox="1"/>
          <p:nvPr/>
        </p:nvSpPr>
        <p:spPr>
          <a:xfrm>
            <a:off x="8781456" y="4051088"/>
            <a:ext cx="2422286"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a:t>
            </a:r>
          </a:p>
          <a:p>
            <a:pPr marL="0" marR="0" lvl="0" indent="0" algn="ctr" rtl="0">
              <a:lnSpc>
                <a:spcPct val="100000"/>
              </a:lnSpc>
              <a:spcBef>
                <a:spcPts val="0"/>
              </a:spcBef>
              <a:spcAft>
                <a:spcPts val="0"/>
              </a:spcAft>
              <a:buClr>
                <a:srgbClr val="000000"/>
              </a:buClr>
              <a:buSzPts val="1200"/>
              <a:buFont typeface="Arial"/>
              <a:buNone/>
            </a:pPr>
            <a:r>
              <a:rPr lang="en-US" sz="1200">
                <a:solidFill>
                  <a:schemeClr val="dk1"/>
                </a:solidFill>
                <a:latin typeface="Poppins"/>
                <a:ea typeface="Poppins"/>
                <a:cs typeface="Poppins"/>
                <a:sym typeface="Poppins"/>
              </a:rPr>
              <a:t>Bureau for </a:t>
            </a:r>
            <a:r>
              <a:rPr lang="en-US" sz="1200" b="0" i="0" u="none" strike="noStrike" cap="none">
                <a:solidFill>
                  <a:schemeClr val="dk1"/>
                </a:solidFill>
                <a:latin typeface="Poppins"/>
                <a:ea typeface="Poppins"/>
                <a:cs typeface="Poppins"/>
                <a:sym typeface="Poppins"/>
              </a:rPr>
              <a:t>Weights &amp; Measures </a:t>
            </a:r>
            <a:endParaRPr sz="1400" b="0" i="0" u="none" strike="noStrike" cap="none">
              <a:solidFill>
                <a:srgbClr val="000000"/>
              </a:solidFill>
              <a:latin typeface="Arial"/>
              <a:ea typeface="Arial"/>
              <a:cs typeface="Arial"/>
              <a:sym typeface="Arial"/>
            </a:endParaRPr>
          </a:p>
        </p:txBody>
      </p:sp>
      <p:sp>
        <p:nvSpPr>
          <p:cNvPr id="1595" name="Google Shape;1595;p33"/>
          <p:cNvSpPr txBox="1"/>
          <p:nvPr/>
        </p:nvSpPr>
        <p:spPr>
          <a:xfrm>
            <a:off x="788312" y="5774694"/>
            <a:ext cx="250257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Telecommunications Union</a:t>
            </a:r>
            <a:endParaRPr sz="1400" b="0" i="0" u="none" strike="noStrike" cap="none">
              <a:solidFill>
                <a:srgbClr val="000000"/>
              </a:solidFill>
              <a:latin typeface="Arial"/>
              <a:ea typeface="Arial"/>
              <a:cs typeface="Arial"/>
              <a:sym typeface="Arial"/>
            </a:endParaRPr>
          </a:p>
        </p:txBody>
      </p:sp>
      <p:sp>
        <p:nvSpPr>
          <p:cNvPr id="1596" name="Google Shape;1596;p33"/>
          <p:cNvSpPr txBox="1"/>
          <p:nvPr/>
        </p:nvSpPr>
        <p:spPr>
          <a:xfrm>
            <a:off x="3742835" y="5774694"/>
            <a:ext cx="2002064" cy="646290"/>
          </a:xfrm>
          <a:prstGeom prst="rect">
            <a:avLst/>
          </a:prstGeom>
          <a:noFill/>
          <a:ln>
            <a:noFill/>
          </a:ln>
        </p:spPr>
        <p:txBody>
          <a:bodyPr spcFirstLastPara="1" wrap="square" lIns="91425" tIns="45700" rIns="91425" bIns="45700" anchor="t" anchorCtr="0">
            <a:spAutoFit/>
          </a:bodyPr>
          <a:lstStyle/>
          <a:p>
            <a:pPr algn="ctr">
              <a:buSzPts val="1200"/>
            </a:pPr>
            <a:r>
              <a:rPr lang="en-US" sz="1200" b="0" i="0" u="none" strike="noStrike" cap="none">
                <a:solidFill>
                  <a:schemeClr val="dk1"/>
                </a:solidFill>
                <a:latin typeface="Poppins"/>
                <a:ea typeface="Poppins"/>
                <a:cs typeface="Poppins"/>
                <a:sym typeface="Poppins"/>
              </a:rPr>
              <a:t>International </a:t>
            </a:r>
            <a:r>
              <a:rPr lang="en-US" sz="1200">
                <a:solidFill>
                  <a:schemeClr val="dk1"/>
                </a:solidFill>
                <a:latin typeface="Poppins"/>
                <a:ea typeface="Poppins"/>
                <a:cs typeface="Poppins"/>
                <a:sym typeface="Poppins"/>
              </a:rPr>
              <a:t>Federation of</a:t>
            </a:r>
            <a:r>
              <a:rPr lang="en-US" sz="1200" b="0" i="0" u="none" strike="noStrike" cap="none">
                <a:solidFill>
                  <a:schemeClr val="dk1"/>
                </a:solidFill>
                <a:latin typeface="Poppins"/>
                <a:ea typeface="Poppins"/>
                <a:cs typeface="Poppins"/>
                <a:sym typeface="Poppins"/>
              </a:rPr>
              <a:t> </a:t>
            </a:r>
            <a:r>
              <a:rPr lang="en-US" sz="1200">
                <a:solidFill>
                  <a:schemeClr val="dk1"/>
                </a:solidFill>
                <a:latin typeface="Poppins"/>
                <a:ea typeface="Poppins"/>
                <a:cs typeface="Poppins"/>
                <a:sym typeface="Poppins"/>
              </a:rPr>
              <a:t>Horseracing</a:t>
            </a:r>
            <a:r>
              <a:rPr lang="en-US" sz="1200" b="0" i="0" u="none" strike="noStrike" cap="none">
                <a:solidFill>
                  <a:schemeClr val="dk1"/>
                </a:solidFill>
                <a:latin typeface="Poppins"/>
                <a:ea typeface="Poppins"/>
                <a:cs typeface="Poppins"/>
                <a:sym typeface="Poppins"/>
              </a:rPr>
              <a:t> </a:t>
            </a:r>
            <a:r>
              <a:rPr lang="en-US" sz="1200">
                <a:solidFill>
                  <a:schemeClr val="dk1"/>
                </a:solidFill>
                <a:latin typeface="Poppins"/>
                <a:ea typeface="Poppins"/>
                <a:cs typeface="Poppins"/>
                <a:sym typeface="Poppins"/>
              </a:rPr>
              <a:t>Authorities </a:t>
            </a:r>
            <a:endParaRPr sz="1400" b="0" i="0" u="none" strike="noStrike" cap="none">
              <a:solidFill>
                <a:schemeClr val="dk1"/>
              </a:solidFill>
              <a:latin typeface="Arial"/>
              <a:ea typeface="Arial"/>
              <a:cs typeface="Arial"/>
              <a:sym typeface="Arial"/>
            </a:endParaRPr>
          </a:p>
        </p:txBody>
      </p:sp>
      <p:sp>
        <p:nvSpPr>
          <p:cNvPr id="1597" name="Google Shape;1597;p33"/>
          <p:cNvSpPr txBox="1"/>
          <p:nvPr/>
        </p:nvSpPr>
        <p:spPr>
          <a:xfrm>
            <a:off x="6303250" y="5859332"/>
            <a:ext cx="200206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orld Bank</a:t>
            </a:r>
            <a:endParaRPr sz="1400" b="0" i="0" u="none" strike="noStrike" cap="none">
              <a:solidFill>
                <a:srgbClr val="000000"/>
              </a:solidFill>
              <a:latin typeface="Arial"/>
              <a:ea typeface="Arial"/>
              <a:cs typeface="Arial"/>
              <a:sym typeface="Arial"/>
            </a:endParaRPr>
          </a:p>
        </p:txBody>
      </p:sp>
      <p:sp>
        <p:nvSpPr>
          <p:cNvPr id="1598" name="Google Shape;1598;p33"/>
          <p:cNvSpPr txBox="1"/>
          <p:nvPr/>
        </p:nvSpPr>
        <p:spPr>
          <a:xfrm>
            <a:off x="8991566" y="5867026"/>
            <a:ext cx="2212175" cy="46162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Network on Quality Infrastructure</a:t>
            </a:r>
            <a:endParaRPr sz="1200" b="0" i="0" u="none" strike="noStrike" cap="none">
              <a:solidFill>
                <a:schemeClr val="dk1"/>
              </a:solidFill>
              <a:latin typeface="Poppins"/>
              <a:ea typeface="Poppins"/>
              <a:cs typeface="Poppins"/>
              <a:sym typeface="Poppins"/>
            </a:endParaRPr>
          </a:p>
        </p:txBody>
      </p:sp>
      <p:sp>
        <p:nvSpPr>
          <p:cNvPr id="1599" name="Google Shape;1599;p33"/>
          <p:cNvSpPr txBox="1"/>
          <p:nvPr/>
        </p:nvSpPr>
        <p:spPr>
          <a:xfrm>
            <a:off x="850900" y="959134"/>
            <a:ext cx="10490200"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ILAC liaises and cooperates with many international bodies such as MoU partners to achieve shared objectives.</a:t>
            </a:r>
            <a:endParaRPr sz="1400" b="0" i="0" u="none" strike="noStrike" cap="none">
              <a:solidFill>
                <a:srgbClr val="000000"/>
              </a:solidFill>
              <a:latin typeface="Arial"/>
              <a:ea typeface="Arial"/>
              <a:cs typeface="Arial"/>
              <a:sym typeface="Arial"/>
            </a:endParaRPr>
          </a:p>
        </p:txBody>
      </p:sp>
      <p:grpSp>
        <p:nvGrpSpPr>
          <p:cNvPr id="1600" name="Google Shape;1600;p33"/>
          <p:cNvGrpSpPr/>
          <p:nvPr/>
        </p:nvGrpSpPr>
        <p:grpSpPr>
          <a:xfrm>
            <a:off x="1371511" y="1392716"/>
            <a:ext cx="1336178" cy="942844"/>
            <a:chOff x="1371511" y="1437786"/>
            <a:chExt cx="1336178" cy="942844"/>
          </a:xfrm>
        </p:grpSpPr>
        <p:sp>
          <p:nvSpPr>
            <p:cNvPr id="1601" name="Google Shape;1601;p33"/>
            <p:cNvSpPr/>
            <p:nvPr/>
          </p:nvSpPr>
          <p:spPr>
            <a:xfrm>
              <a:off x="1371511" y="1437786"/>
              <a:ext cx="1336178" cy="942844"/>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02" name="Google Shape;1602;p33"/>
            <p:cNvPicPr preferRelativeResize="0"/>
            <p:nvPr/>
          </p:nvPicPr>
          <p:blipFill rotWithShape="1">
            <a:blip r:embed="rId3">
              <a:alphaModFix/>
            </a:blip>
            <a:srcRect/>
            <a:stretch/>
          </p:blipFill>
          <p:spPr>
            <a:xfrm>
              <a:off x="1576642" y="1632130"/>
              <a:ext cx="925916" cy="554156"/>
            </a:xfrm>
            <a:prstGeom prst="rect">
              <a:avLst/>
            </a:prstGeom>
            <a:noFill/>
            <a:ln>
              <a:noFill/>
            </a:ln>
          </p:spPr>
        </p:pic>
      </p:grpSp>
      <p:grpSp>
        <p:nvGrpSpPr>
          <p:cNvPr id="1603" name="Google Shape;1603;p33"/>
          <p:cNvGrpSpPr/>
          <p:nvPr/>
        </p:nvGrpSpPr>
        <p:grpSpPr>
          <a:xfrm>
            <a:off x="4076355" y="1392716"/>
            <a:ext cx="1335024" cy="941832"/>
            <a:chOff x="4092887" y="1449858"/>
            <a:chExt cx="1335024" cy="941832"/>
          </a:xfrm>
        </p:grpSpPr>
        <p:sp>
          <p:nvSpPr>
            <p:cNvPr id="1604" name="Google Shape;1604;p33"/>
            <p:cNvSpPr/>
            <p:nvPr/>
          </p:nvSpPr>
          <p:spPr>
            <a:xfrm>
              <a:off x="4092887" y="1449858"/>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05" name="Google Shape;1605;p33"/>
            <p:cNvPicPr preferRelativeResize="0"/>
            <p:nvPr/>
          </p:nvPicPr>
          <p:blipFill rotWithShape="1">
            <a:blip r:embed="rId4">
              <a:alphaModFix/>
            </a:blip>
            <a:srcRect/>
            <a:stretch/>
          </p:blipFill>
          <p:spPr>
            <a:xfrm>
              <a:off x="4430686" y="1587860"/>
              <a:ext cx="659426" cy="665828"/>
            </a:xfrm>
            <a:prstGeom prst="rect">
              <a:avLst/>
            </a:prstGeom>
            <a:noFill/>
            <a:ln>
              <a:noFill/>
            </a:ln>
          </p:spPr>
        </p:pic>
      </p:grpSp>
      <p:grpSp>
        <p:nvGrpSpPr>
          <p:cNvPr id="1606" name="Google Shape;1606;p33"/>
          <p:cNvGrpSpPr/>
          <p:nvPr/>
        </p:nvGrpSpPr>
        <p:grpSpPr>
          <a:xfrm>
            <a:off x="6636770" y="1392716"/>
            <a:ext cx="1335024" cy="941832"/>
            <a:chOff x="6620820" y="1325432"/>
            <a:chExt cx="1335024" cy="941832"/>
          </a:xfrm>
        </p:grpSpPr>
        <p:sp>
          <p:nvSpPr>
            <p:cNvPr id="1607" name="Google Shape;1607;p33"/>
            <p:cNvSpPr/>
            <p:nvPr/>
          </p:nvSpPr>
          <p:spPr>
            <a:xfrm>
              <a:off x="6620820" y="1325432"/>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08" name="Google Shape;1608;p33"/>
            <p:cNvPicPr preferRelativeResize="0"/>
            <p:nvPr/>
          </p:nvPicPr>
          <p:blipFill rotWithShape="1">
            <a:blip r:embed="rId5">
              <a:alphaModFix/>
            </a:blip>
            <a:srcRect/>
            <a:stretch/>
          </p:blipFill>
          <p:spPr>
            <a:xfrm>
              <a:off x="6933106" y="1493748"/>
              <a:ext cx="710452" cy="605200"/>
            </a:xfrm>
            <a:prstGeom prst="rect">
              <a:avLst/>
            </a:prstGeom>
            <a:noFill/>
            <a:ln>
              <a:noFill/>
            </a:ln>
          </p:spPr>
        </p:pic>
      </p:grpSp>
      <p:grpSp>
        <p:nvGrpSpPr>
          <p:cNvPr id="1609" name="Google Shape;1609;p33"/>
          <p:cNvGrpSpPr/>
          <p:nvPr/>
        </p:nvGrpSpPr>
        <p:grpSpPr>
          <a:xfrm>
            <a:off x="9325087" y="1420775"/>
            <a:ext cx="1335024" cy="941832"/>
            <a:chOff x="9325087" y="1325432"/>
            <a:chExt cx="1335024" cy="941832"/>
          </a:xfrm>
        </p:grpSpPr>
        <p:sp>
          <p:nvSpPr>
            <p:cNvPr id="1610" name="Google Shape;1610;p33"/>
            <p:cNvSpPr/>
            <p:nvPr/>
          </p:nvSpPr>
          <p:spPr>
            <a:xfrm>
              <a:off x="9325087" y="1325432"/>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11" name="Google Shape;1611;p33"/>
            <p:cNvPicPr preferRelativeResize="0"/>
            <p:nvPr/>
          </p:nvPicPr>
          <p:blipFill rotWithShape="1">
            <a:blip r:embed="rId6">
              <a:alphaModFix/>
            </a:blip>
            <a:srcRect/>
            <a:stretch/>
          </p:blipFill>
          <p:spPr>
            <a:xfrm>
              <a:off x="9673428" y="1493748"/>
              <a:ext cx="638342" cy="605200"/>
            </a:xfrm>
            <a:prstGeom prst="rect">
              <a:avLst/>
            </a:prstGeom>
            <a:noFill/>
            <a:ln>
              <a:noFill/>
            </a:ln>
          </p:spPr>
        </p:pic>
      </p:grpSp>
      <p:grpSp>
        <p:nvGrpSpPr>
          <p:cNvPr id="1612" name="Google Shape;1612;p33"/>
          <p:cNvGrpSpPr/>
          <p:nvPr/>
        </p:nvGrpSpPr>
        <p:grpSpPr>
          <a:xfrm>
            <a:off x="1372665" y="2996056"/>
            <a:ext cx="1335024" cy="941832"/>
            <a:chOff x="1212286" y="2996056"/>
            <a:chExt cx="1335024" cy="941832"/>
          </a:xfrm>
        </p:grpSpPr>
        <p:sp>
          <p:nvSpPr>
            <p:cNvPr id="1613" name="Google Shape;1613;p33"/>
            <p:cNvSpPr/>
            <p:nvPr/>
          </p:nvSpPr>
          <p:spPr>
            <a:xfrm>
              <a:off x="1212286" y="2996056"/>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14" name="Google Shape;1614;p33"/>
            <p:cNvPicPr preferRelativeResize="0"/>
            <p:nvPr/>
          </p:nvPicPr>
          <p:blipFill rotWithShape="1">
            <a:blip r:embed="rId7">
              <a:alphaModFix/>
            </a:blip>
            <a:srcRect/>
            <a:stretch/>
          </p:blipFill>
          <p:spPr>
            <a:xfrm>
              <a:off x="1524572" y="3133675"/>
              <a:ext cx="710452" cy="666594"/>
            </a:xfrm>
            <a:prstGeom prst="rect">
              <a:avLst/>
            </a:prstGeom>
            <a:noFill/>
            <a:ln>
              <a:noFill/>
            </a:ln>
          </p:spPr>
        </p:pic>
      </p:grpSp>
      <p:sp>
        <p:nvSpPr>
          <p:cNvPr id="1615" name="Google Shape;1615;p33"/>
          <p:cNvSpPr txBox="1"/>
          <p:nvPr/>
        </p:nvSpPr>
        <p:spPr>
          <a:xfrm>
            <a:off x="3500994" y="4051088"/>
            <a:ext cx="244265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a:t>
            </a:r>
            <a:r>
              <a:rPr lang="en-US" sz="1200" b="0" i="0" u="none" strike="noStrike" cap="none" err="1">
                <a:solidFill>
                  <a:schemeClr val="dk1"/>
                </a:solidFill>
                <a:latin typeface="Poppins"/>
                <a:ea typeface="Poppins"/>
                <a:cs typeface="Poppins"/>
                <a:sym typeface="Poppins"/>
              </a:rPr>
              <a:t>Organisation</a:t>
            </a:r>
            <a:r>
              <a:rPr lang="en-US" sz="1200" b="0" i="0" u="none" strike="noStrike" cap="none">
                <a:solidFill>
                  <a:schemeClr val="dk1"/>
                </a:solidFill>
                <a:latin typeface="Poppins"/>
                <a:ea typeface="Poppins"/>
                <a:cs typeface="Poppins"/>
                <a:sym typeface="Poppins"/>
              </a:rPr>
              <a:t> for Standardization </a:t>
            </a:r>
            <a:endParaRPr sz="1400" b="0" i="0" u="none" strike="noStrike" cap="none">
              <a:solidFill>
                <a:srgbClr val="000000"/>
              </a:solidFill>
              <a:latin typeface="Arial"/>
              <a:ea typeface="Arial"/>
              <a:cs typeface="Arial"/>
              <a:sym typeface="Arial"/>
            </a:endParaRPr>
          </a:p>
        </p:txBody>
      </p:sp>
      <p:grpSp>
        <p:nvGrpSpPr>
          <p:cNvPr id="1616" name="Google Shape;1616;p33"/>
          <p:cNvGrpSpPr/>
          <p:nvPr/>
        </p:nvGrpSpPr>
        <p:grpSpPr>
          <a:xfrm>
            <a:off x="4076355" y="2996056"/>
            <a:ext cx="1335024" cy="941832"/>
            <a:chOff x="3901180" y="2996056"/>
            <a:chExt cx="1335024" cy="941832"/>
          </a:xfrm>
        </p:grpSpPr>
        <p:sp>
          <p:nvSpPr>
            <p:cNvPr id="1617" name="Google Shape;1617;p33"/>
            <p:cNvSpPr/>
            <p:nvPr/>
          </p:nvSpPr>
          <p:spPr>
            <a:xfrm>
              <a:off x="3901180" y="2996056"/>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18" name="Google Shape;1618;p33"/>
            <p:cNvPicPr preferRelativeResize="0"/>
            <p:nvPr/>
          </p:nvPicPr>
          <p:blipFill rotWithShape="1">
            <a:blip r:embed="rId8">
              <a:alphaModFix/>
            </a:blip>
            <a:srcRect/>
            <a:stretch/>
          </p:blipFill>
          <p:spPr>
            <a:xfrm>
              <a:off x="4252782" y="3161443"/>
              <a:ext cx="662566" cy="611058"/>
            </a:xfrm>
            <a:prstGeom prst="rect">
              <a:avLst/>
            </a:prstGeom>
            <a:noFill/>
            <a:ln>
              <a:noFill/>
            </a:ln>
          </p:spPr>
        </p:pic>
      </p:grpSp>
      <p:grpSp>
        <p:nvGrpSpPr>
          <p:cNvPr id="1619" name="Google Shape;1619;p33"/>
          <p:cNvGrpSpPr/>
          <p:nvPr/>
        </p:nvGrpSpPr>
        <p:grpSpPr>
          <a:xfrm>
            <a:off x="6636770" y="3039810"/>
            <a:ext cx="1335024" cy="941832"/>
            <a:chOff x="6620820" y="3039810"/>
            <a:chExt cx="1335024" cy="941832"/>
          </a:xfrm>
        </p:grpSpPr>
        <p:sp>
          <p:nvSpPr>
            <p:cNvPr id="1620" name="Google Shape;1620;p33"/>
            <p:cNvSpPr/>
            <p:nvPr/>
          </p:nvSpPr>
          <p:spPr>
            <a:xfrm>
              <a:off x="6620820" y="3039810"/>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21" name="Google Shape;1621;p33"/>
            <p:cNvPicPr preferRelativeResize="0"/>
            <p:nvPr/>
          </p:nvPicPr>
          <p:blipFill rotWithShape="1">
            <a:blip r:embed="rId9">
              <a:alphaModFix/>
            </a:blip>
            <a:srcRect/>
            <a:stretch/>
          </p:blipFill>
          <p:spPr>
            <a:xfrm>
              <a:off x="6807721" y="3065162"/>
              <a:ext cx="961222" cy="891128"/>
            </a:xfrm>
            <a:prstGeom prst="rect">
              <a:avLst/>
            </a:prstGeom>
            <a:noFill/>
            <a:ln>
              <a:noFill/>
            </a:ln>
          </p:spPr>
        </p:pic>
      </p:grpSp>
      <p:grpSp>
        <p:nvGrpSpPr>
          <p:cNvPr id="1622" name="Google Shape;1622;p33"/>
          <p:cNvGrpSpPr/>
          <p:nvPr/>
        </p:nvGrpSpPr>
        <p:grpSpPr>
          <a:xfrm>
            <a:off x="9325087" y="2996056"/>
            <a:ext cx="1335024" cy="941832"/>
            <a:chOff x="9325087" y="2996056"/>
            <a:chExt cx="1335024" cy="941832"/>
          </a:xfrm>
        </p:grpSpPr>
        <p:sp>
          <p:nvSpPr>
            <p:cNvPr id="1623" name="Google Shape;1623;p33"/>
            <p:cNvSpPr/>
            <p:nvPr/>
          </p:nvSpPr>
          <p:spPr>
            <a:xfrm>
              <a:off x="9325087" y="2996056"/>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24" name="Google Shape;1624;p33" descr="H:\Temp Folder\BIPM-2014-160px3.jpg"/>
            <p:cNvPicPr preferRelativeResize="0"/>
            <p:nvPr/>
          </p:nvPicPr>
          <p:blipFill rotWithShape="1">
            <a:blip r:embed="rId10">
              <a:alphaModFix/>
            </a:blip>
            <a:srcRect/>
            <a:stretch/>
          </p:blipFill>
          <p:spPr>
            <a:xfrm>
              <a:off x="9574775" y="3240651"/>
              <a:ext cx="835648" cy="452642"/>
            </a:xfrm>
            <a:prstGeom prst="rect">
              <a:avLst/>
            </a:prstGeom>
            <a:noFill/>
            <a:ln>
              <a:noFill/>
            </a:ln>
          </p:spPr>
        </p:pic>
      </p:grpSp>
      <p:sp>
        <p:nvSpPr>
          <p:cNvPr id="1626" name="Google Shape;1626;p33"/>
          <p:cNvSpPr/>
          <p:nvPr/>
        </p:nvSpPr>
        <p:spPr>
          <a:xfrm>
            <a:off x="1372665" y="4683128"/>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29" name="Google Shape;1629;p33"/>
          <p:cNvSpPr/>
          <p:nvPr/>
        </p:nvSpPr>
        <p:spPr>
          <a:xfrm>
            <a:off x="4076355" y="4666681"/>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1631" name="Google Shape;1631;p33"/>
          <p:cNvGrpSpPr/>
          <p:nvPr/>
        </p:nvGrpSpPr>
        <p:grpSpPr>
          <a:xfrm>
            <a:off x="6636770" y="4666681"/>
            <a:ext cx="1335024" cy="941832"/>
            <a:chOff x="6652720" y="4666681"/>
            <a:chExt cx="1335024" cy="941832"/>
          </a:xfrm>
        </p:grpSpPr>
        <p:sp>
          <p:nvSpPr>
            <p:cNvPr id="1632" name="Google Shape;1632;p33"/>
            <p:cNvSpPr/>
            <p:nvPr/>
          </p:nvSpPr>
          <p:spPr>
            <a:xfrm>
              <a:off x="6652720" y="4666681"/>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33" name="Google Shape;1633;p33" descr="H:\+ILAC\Short-term Projects\ISO IHAF WB logos\WB-vertical.jpg"/>
            <p:cNvPicPr preferRelativeResize="0"/>
            <p:nvPr/>
          </p:nvPicPr>
          <p:blipFill rotWithShape="1">
            <a:blip r:embed="rId11">
              <a:alphaModFix/>
            </a:blip>
            <a:srcRect/>
            <a:stretch/>
          </p:blipFill>
          <p:spPr>
            <a:xfrm>
              <a:off x="6748722" y="4877561"/>
              <a:ext cx="1143020" cy="520072"/>
            </a:xfrm>
            <a:prstGeom prst="rect">
              <a:avLst/>
            </a:prstGeom>
            <a:noFill/>
            <a:ln>
              <a:noFill/>
            </a:ln>
          </p:spPr>
        </p:pic>
      </p:grpSp>
      <p:grpSp>
        <p:nvGrpSpPr>
          <p:cNvPr id="1634" name="Google Shape;1634;p33"/>
          <p:cNvGrpSpPr/>
          <p:nvPr/>
        </p:nvGrpSpPr>
        <p:grpSpPr>
          <a:xfrm>
            <a:off x="9325087" y="4666681"/>
            <a:ext cx="1335024" cy="941832"/>
            <a:chOff x="9325087" y="4666681"/>
            <a:chExt cx="1335024" cy="941832"/>
          </a:xfrm>
        </p:grpSpPr>
        <p:sp>
          <p:nvSpPr>
            <p:cNvPr id="1635" name="Google Shape;1635;p33"/>
            <p:cNvSpPr/>
            <p:nvPr/>
          </p:nvSpPr>
          <p:spPr>
            <a:xfrm>
              <a:off x="9325087" y="4666681"/>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36" name="Google Shape;1636;p33"/>
            <p:cNvPicPr preferRelativeResize="0"/>
            <p:nvPr/>
          </p:nvPicPr>
          <p:blipFill rotWithShape="1">
            <a:blip r:embed="rId12">
              <a:alphaModFix/>
            </a:blip>
            <a:srcRect/>
            <a:stretch/>
          </p:blipFill>
          <p:spPr>
            <a:xfrm>
              <a:off x="9548942" y="4796229"/>
              <a:ext cx="887314" cy="682736"/>
            </a:xfrm>
            <a:prstGeom prst="rect">
              <a:avLst/>
            </a:prstGeom>
            <a:noFill/>
            <a:ln>
              <a:noFill/>
            </a:ln>
          </p:spPr>
        </p:pic>
      </p:grpSp>
      <p:pic>
        <p:nvPicPr>
          <p:cNvPr id="2" name="Picture 1" descr="ITU">
            <a:extLst>
              <a:ext uri="{FF2B5EF4-FFF2-40B4-BE49-F238E27FC236}">
                <a16:creationId xmlns:a16="http://schemas.microsoft.com/office/drawing/2014/main" id="{6811C9F2-CCB3-291F-D2A7-BEA550B1A593}"/>
              </a:ext>
            </a:extLst>
          </p:cNvPr>
          <p:cNvPicPr>
            <a:picLocks noChangeAspect="1"/>
          </p:cNvPicPr>
          <p:nvPr/>
        </p:nvPicPr>
        <p:blipFill>
          <a:blip r:embed="rId13"/>
          <a:stretch>
            <a:fillRect/>
          </a:stretch>
        </p:blipFill>
        <p:spPr>
          <a:xfrm>
            <a:off x="1678383" y="4711119"/>
            <a:ext cx="737236" cy="852956"/>
          </a:xfrm>
          <a:prstGeom prst="rect">
            <a:avLst/>
          </a:prstGeom>
        </p:spPr>
      </p:pic>
      <p:pic>
        <p:nvPicPr>
          <p:cNvPr id="3" name="Picture 2" descr="A logo of a horse and a map&#10;&#10;Description automatically generated">
            <a:extLst>
              <a:ext uri="{FF2B5EF4-FFF2-40B4-BE49-F238E27FC236}">
                <a16:creationId xmlns:a16="http://schemas.microsoft.com/office/drawing/2014/main" id="{F007D808-26C9-62A3-380E-AF7F75AFF95E}"/>
              </a:ext>
            </a:extLst>
          </p:cNvPr>
          <p:cNvPicPr>
            <a:picLocks noChangeAspect="1"/>
          </p:cNvPicPr>
          <p:nvPr/>
        </p:nvPicPr>
        <p:blipFill>
          <a:blip r:embed="rId14"/>
          <a:stretch>
            <a:fillRect/>
          </a:stretch>
        </p:blipFill>
        <p:spPr>
          <a:xfrm>
            <a:off x="4128170" y="4872841"/>
            <a:ext cx="1235294" cy="545225"/>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Google Shape;1658;p34">
            <a:extLst>
              <a:ext uri="{FF2B5EF4-FFF2-40B4-BE49-F238E27FC236}">
                <a16:creationId xmlns:a16="http://schemas.microsoft.com/office/drawing/2014/main" id="{EED70E71-6673-A71C-D7FB-077595201DAD}"/>
              </a:ext>
            </a:extLst>
          </p:cNvPr>
          <p:cNvSpPr/>
          <p:nvPr/>
        </p:nvSpPr>
        <p:spPr>
          <a:xfrm>
            <a:off x="5246350" y="1780899"/>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3" name="Google Shape;1641;p34">
            <a:extLst>
              <a:ext uri="{FF2B5EF4-FFF2-40B4-BE49-F238E27FC236}">
                <a16:creationId xmlns:a16="http://schemas.microsoft.com/office/drawing/2014/main" id="{367DCAA7-BD06-13EF-9EBB-18EED3A45023}"/>
              </a:ext>
            </a:extLst>
          </p:cNvPr>
          <p:cNvSpPr txBox="1"/>
          <p:nvPr/>
        </p:nvSpPr>
        <p:spPr>
          <a:xfrm>
            <a:off x="3893957" y="347137"/>
            <a:ext cx="4407562" cy="80017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LAC PARTNERS </a:t>
            </a:r>
            <a:r>
              <a:rPr lang="en-US" sz="1800" b="1" i="0" u="none" strike="noStrike" cap="none">
                <a:solidFill>
                  <a:schemeClr val="dk1"/>
                </a:solidFill>
                <a:latin typeface="Poppins"/>
                <a:ea typeface="Poppins"/>
                <a:cs typeface="Poppins"/>
                <a:sym typeface="Poppins"/>
              </a:rPr>
              <a:t>(Continued</a:t>
            </a:r>
            <a:r>
              <a:rPr lang="en-US" sz="1800" b="1">
                <a:solidFill>
                  <a:schemeClr val="dk1"/>
                </a:solidFill>
                <a:latin typeface="Poppins"/>
                <a:ea typeface="Poppins"/>
                <a:cs typeface="Poppins"/>
                <a:sym typeface="Poppins"/>
              </a:rPr>
              <a:t>)</a:t>
            </a:r>
            <a:endParaRPr sz="1800" b="0" i="0" u="none" strike="noStrike" cap="none">
              <a:solidFill>
                <a:srgbClr val="000000"/>
              </a:solidFill>
              <a:latin typeface="Arial"/>
              <a:ea typeface="Arial"/>
              <a:cs typeface="Arial"/>
              <a:sym typeface="Arial"/>
            </a:endParaRPr>
          </a:p>
        </p:txBody>
      </p:sp>
      <p:cxnSp>
        <p:nvCxnSpPr>
          <p:cNvPr id="4" name="Google Shape;1642;p34">
            <a:extLst>
              <a:ext uri="{FF2B5EF4-FFF2-40B4-BE49-F238E27FC236}">
                <a16:creationId xmlns:a16="http://schemas.microsoft.com/office/drawing/2014/main" id="{463DD382-93C1-8D06-8B75-750798C42B96}"/>
              </a:ext>
            </a:extLst>
          </p:cNvPr>
          <p:cNvCxnSpPr/>
          <p:nvPr/>
        </p:nvCxnSpPr>
        <p:spPr>
          <a:xfrm>
            <a:off x="5529618" y="1147316"/>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5" name="Google Shape;1656;p34">
            <a:extLst>
              <a:ext uri="{FF2B5EF4-FFF2-40B4-BE49-F238E27FC236}">
                <a16:creationId xmlns:a16="http://schemas.microsoft.com/office/drawing/2014/main" id="{EC7E8054-0D8A-7691-F842-738F509626E0}"/>
              </a:ext>
            </a:extLst>
          </p:cNvPr>
          <p:cNvSpPr/>
          <p:nvPr/>
        </p:nvSpPr>
        <p:spPr>
          <a:xfrm>
            <a:off x="718352" y="178162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6" name="Google Shape;1657;p34">
            <a:extLst>
              <a:ext uri="{FF2B5EF4-FFF2-40B4-BE49-F238E27FC236}">
                <a16:creationId xmlns:a16="http://schemas.microsoft.com/office/drawing/2014/main" id="{E15100F1-0D81-76FE-C056-476BDC5E3A73}"/>
              </a:ext>
            </a:extLst>
          </p:cNvPr>
          <p:cNvSpPr txBox="1"/>
          <p:nvPr/>
        </p:nvSpPr>
        <p:spPr>
          <a:xfrm>
            <a:off x="566970" y="2879786"/>
            <a:ext cx="2002064" cy="4462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Joint Committee for Guides in Metrology</a:t>
            </a:r>
            <a:endParaRPr sz="1400" b="0" i="0" u="none" strike="noStrike" cap="none">
              <a:solidFill>
                <a:srgbClr val="000000"/>
              </a:solidFill>
              <a:latin typeface="Arial"/>
              <a:ea typeface="Arial"/>
              <a:cs typeface="Arial"/>
              <a:sym typeface="Arial"/>
            </a:endParaRPr>
          </a:p>
        </p:txBody>
      </p:sp>
      <p:sp>
        <p:nvSpPr>
          <p:cNvPr id="7" name="Google Shape;1658;p34">
            <a:extLst>
              <a:ext uri="{FF2B5EF4-FFF2-40B4-BE49-F238E27FC236}">
                <a16:creationId xmlns:a16="http://schemas.microsoft.com/office/drawing/2014/main" id="{A2DC905C-80B0-828C-96A7-0A488BB84312}"/>
              </a:ext>
            </a:extLst>
          </p:cNvPr>
          <p:cNvSpPr/>
          <p:nvPr/>
        </p:nvSpPr>
        <p:spPr>
          <a:xfrm>
            <a:off x="2982351" y="1781624"/>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1" name="Google Shape;1670;p34">
            <a:extLst>
              <a:ext uri="{FF2B5EF4-FFF2-40B4-BE49-F238E27FC236}">
                <a16:creationId xmlns:a16="http://schemas.microsoft.com/office/drawing/2014/main" id="{3A5CF807-BDD0-E650-7711-540F87F63871}"/>
              </a:ext>
            </a:extLst>
          </p:cNvPr>
          <p:cNvSpPr txBox="1"/>
          <p:nvPr/>
        </p:nvSpPr>
        <p:spPr>
          <a:xfrm>
            <a:off x="2686929" y="2879786"/>
            <a:ext cx="2290144" cy="62320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Joint Committee for Traceability in Laboratory Medicine</a:t>
            </a:r>
            <a:endParaRPr sz="1400" b="0" i="0" u="none" strike="noStrike" cap="none">
              <a:solidFill>
                <a:srgbClr val="000000"/>
              </a:solidFill>
              <a:latin typeface="Arial"/>
              <a:ea typeface="Arial"/>
              <a:cs typeface="Arial"/>
              <a:sym typeface="Arial"/>
            </a:endParaRPr>
          </a:p>
        </p:txBody>
      </p:sp>
      <p:sp>
        <p:nvSpPr>
          <p:cNvPr id="12" name="Google Shape;1671;p34">
            <a:extLst>
              <a:ext uri="{FF2B5EF4-FFF2-40B4-BE49-F238E27FC236}">
                <a16:creationId xmlns:a16="http://schemas.microsoft.com/office/drawing/2014/main" id="{B4373E01-4CB0-626F-2AE9-50903020D185}"/>
              </a:ext>
            </a:extLst>
          </p:cNvPr>
          <p:cNvSpPr txBox="1"/>
          <p:nvPr/>
        </p:nvSpPr>
        <p:spPr>
          <a:xfrm>
            <a:off x="4950928" y="2879786"/>
            <a:ext cx="2290144" cy="2692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World Trade </a:t>
            </a:r>
            <a:r>
              <a:rPr lang="en-US" sz="1150" err="1">
                <a:solidFill>
                  <a:schemeClr val="dk1"/>
                </a:solidFill>
                <a:latin typeface="Poppins"/>
                <a:cs typeface="Poppins"/>
                <a:sym typeface="Poppins"/>
              </a:rPr>
              <a:t>Organisation</a:t>
            </a:r>
            <a:endParaRPr sz="1400" b="0" i="0" u="none" strike="noStrike" cap="none">
              <a:solidFill>
                <a:srgbClr val="000000"/>
              </a:solidFill>
              <a:latin typeface="Arial"/>
              <a:ea typeface="Arial"/>
              <a:cs typeface="Arial"/>
              <a:sym typeface="Arial"/>
            </a:endParaRPr>
          </a:p>
        </p:txBody>
      </p:sp>
      <p:sp>
        <p:nvSpPr>
          <p:cNvPr id="56" name="TextBox 55">
            <a:extLst>
              <a:ext uri="{FF2B5EF4-FFF2-40B4-BE49-F238E27FC236}">
                <a16:creationId xmlns:a16="http://schemas.microsoft.com/office/drawing/2014/main" id="{303264AC-F24E-39E9-8852-75516B5140CE}"/>
              </a:ext>
            </a:extLst>
          </p:cNvPr>
          <p:cNvSpPr txBox="1"/>
          <p:nvPr/>
        </p:nvSpPr>
        <p:spPr>
          <a:xfrm>
            <a:off x="7022790" y="2890738"/>
            <a:ext cx="2593521" cy="269304"/>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World Health </a:t>
            </a:r>
            <a:r>
              <a:rPr lang="en-US" sz="1150" err="1">
                <a:solidFill>
                  <a:schemeClr val="dk1"/>
                </a:solidFill>
                <a:latin typeface="Poppins"/>
                <a:cs typeface="Poppins"/>
                <a:sym typeface="Poppins"/>
              </a:rPr>
              <a:t>Organisation</a:t>
            </a:r>
            <a:endParaRPr lang="en-US" sz="1150">
              <a:solidFill>
                <a:schemeClr val="dk1"/>
              </a:solidFill>
              <a:latin typeface="Poppins"/>
              <a:cs typeface="Poppins"/>
              <a:sym typeface="Poppins"/>
            </a:endParaRPr>
          </a:p>
        </p:txBody>
      </p:sp>
      <p:sp>
        <p:nvSpPr>
          <p:cNvPr id="58" name="TextBox 57">
            <a:extLst>
              <a:ext uri="{FF2B5EF4-FFF2-40B4-BE49-F238E27FC236}">
                <a16:creationId xmlns:a16="http://schemas.microsoft.com/office/drawing/2014/main" id="{9E04D0ED-2FE5-5E37-5000-4A166FB7A22A}"/>
              </a:ext>
            </a:extLst>
          </p:cNvPr>
          <p:cNvSpPr txBox="1"/>
          <p:nvPr/>
        </p:nvSpPr>
        <p:spPr>
          <a:xfrm>
            <a:off x="9246512" y="2874234"/>
            <a:ext cx="2360359" cy="623248"/>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err="1">
                <a:solidFill>
                  <a:schemeClr val="dk1"/>
                </a:solidFill>
                <a:latin typeface="Poppins"/>
                <a:cs typeface="Poppins"/>
                <a:sym typeface="Poppins"/>
              </a:rPr>
              <a:t>Organisation</a:t>
            </a:r>
            <a:r>
              <a:rPr lang="en-US" sz="1150">
                <a:solidFill>
                  <a:schemeClr val="dk1"/>
                </a:solidFill>
                <a:latin typeface="Poppins"/>
                <a:cs typeface="Poppins"/>
                <a:sym typeface="Poppins"/>
              </a:rPr>
              <a:t> for Economic Cooperation and Development</a:t>
            </a:r>
            <a:endParaRPr lang="en-US" sz="1150" b="0" i="0" u="none" strike="noStrike" cap="none">
              <a:solidFill>
                <a:srgbClr val="000000"/>
              </a:solidFill>
              <a:latin typeface="Arial"/>
              <a:ea typeface="Arial"/>
              <a:cs typeface="Arial"/>
              <a:sym typeface="Arial"/>
            </a:endParaRPr>
          </a:p>
        </p:txBody>
      </p:sp>
      <p:sp>
        <p:nvSpPr>
          <p:cNvPr id="60" name="TextBox 59">
            <a:extLst>
              <a:ext uri="{FF2B5EF4-FFF2-40B4-BE49-F238E27FC236}">
                <a16:creationId xmlns:a16="http://schemas.microsoft.com/office/drawing/2014/main" id="{3E3CA873-A257-3523-C790-B366E92E967E}"/>
              </a:ext>
            </a:extLst>
          </p:cNvPr>
          <p:cNvSpPr txBox="1"/>
          <p:nvPr/>
        </p:nvSpPr>
        <p:spPr>
          <a:xfrm>
            <a:off x="2822494" y="4801279"/>
            <a:ext cx="1859157" cy="269304"/>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European Commission</a:t>
            </a:r>
            <a:endParaRPr lang="en-US" sz="1150" b="0" i="0" u="none" strike="noStrike" cap="none">
              <a:solidFill>
                <a:srgbClr val="000000"/>
              </a:solidFill>
              <a:latin typeface="Arial"/>
              <a:ea typeface="Arial"/>
              <a:cs typeface="Arial"/>
              <a:sym typeface="Arial"/>
            </a:endParaRPr>
          </a:p>
        </p:txBody>
      </p:sp>
      <p:sp>
        <p:nvSpPr>
          <p:cNvPr id="62" name="TextBox 61">
            <a:extLst>
              <a:ext uri="{FF2B5EF4-FFF2-40B4-BE49-F238E27FC236}">
                <a16:creationId xmlns:a16="http://schemas.microsoft.com/office/drawing/2014/main" id="{93175F54-85CC-FAD6-2232-63F7C8E7C004}"/>
              </a:ext>
            </a:extLst>
          </p:cNvPr>
          <p:cNvSpPr txBox="1"/>
          <p:nvPr/>
        </p:nvSpPr>
        <p:spPr>
          <a:xfrm>
            <a:off x="4975760" y="4758959"/>
            <a:ext cx="2240480" cy="623248"/>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Cooperation on International Traceability in Analytical Chemistry</a:t>
            </a:r>
            <a:endParaRPr lang="en-US" sz="1150" b="0" i="0" u="none" strike="noStrike" cap="none">
              <a:solidFill>
                <a:srgbClr val="000000"/>
              </a:solidFill>
              <a:latin typeface="Arial"/>
              <a:ea typeface="Arial"/>
              <a:cs typeface="Arial"/>
              <a:sym typeface="Arial"/>
            </a:endParaRPr>
          </a:p>
        </p:txBody>
      </p:sp>
      <p:sp>
        <p:nvSpPr>
          <p:cNvPr id="64" name="TextBox 63">
            <a:extLst>
              <a:ext uri="{FF2B5EF4-FFF2-40B4-BE49-F238E27FC236}">
                <a16:creationId xmlns:a16="http://schemas.microsoft.com/office/drawing/2014/main" id="{6BE25CD9-55AD-309B-FE33-B01BD5ECB55C}"/>
              </a:ext>
            </a:extLst>
          </p:cNvPr>
          <p:cNvSpPr txBox="1"/>
          <p:nvPr/>
        </p:nvSpPr>
        <p:spPr>
          <a:xfrm>
            <a:off x="6821433" y="4800307"/>
            <a:ext cx="2837509" cy="446276"/>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Asia-Pacific</a:t>
            </a:r>
          </a:p>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Economic Cooperation</a:t>
            </a:r>
            <a:endParaRPr lang="en-US" sz="1150" b="0" i="0" u="none" strike="noStrike" cap="none">
              <a:solidFill>
                <a:srgbClr val="000000"/>
              </a:solidFill>
              <a:latin typeface="Arial"/>
              <a:ea typeface="Arial"/>
              <a:cs typeface="Arial"/>
              <a:sym typeface="Arial"/>
            </a:endParaRPr>
          </a:p>
        </p:txBody>
      </p:sp>
      <p:pic>
        <p:nvPicPr>
          <p:cNvPr id="66" name="Picture 65" descr="A logo of a company&#10;&#10;Description automatically generated">
            <a:extLst>
              <a:ext uri="{FF2B5EF4-FFF2-40B4-BE49-F238E27FC236}">
                <a16:creationId xmlns:a16="http://schemas.microsoft.com/office/drawing/2014/main" id="{7DACFBB9-A4AA-59AE-93DC-E27967EEF525}"/>
              </a:ext>
            </a:extLst>
          </p:cNvPr>
          <p:cNvPicPr>
            <a:picLocks noChangeAspect="1"/>
          </p:cNvPicPr>
          <p:nvPr/>
        </p:nvPicPr>
        <p:blipFill>
          <a:blip r:embed="rId2"/>
          <a:stretch>
            <a:fillRect/>
          </a:stretch>
        </p:blipFill>
        <p:spPr>
          <a:xfrm>
            <a:off x="5691238" y="1867229"/>
            <a:ext cx="809524" cy="809524"/>
          </a:xfrm>
          <a:prstGeom prst="rect">
            <a:avLst/>
          </a:prstGeom>
        </p:spPr>
      </p:pic>
      <p:sp>
        <p:nvSpPr>
          <p:cNvPr id="69" name="Google Shape;1658;p34">
            <a:extLst>
              <a:ext uri="{FF2B5EF4-FFF2-40B4-BE49-F238E27FC236}">
                <a16:creationId xmlns:a16="http://schemas.microsoft.com/office/drawing/2014/main" id="{7A789CE2-86F7-89C6-7AEA-24060902A922}"/>
              </a:ext>
            </a:extLst>
          </p:cNvPr>
          <p:cNvSpPr/>
          <p:nvPr/>
        </p:nvSpPr>
        <p:spPr>
          <a:xfrm>
            <a:off x="7390538" y="1780899"/>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0" name="Google Shape;1658;p34">
            <a:extLst>
              <a:ext uri="{FF2B5EF4-FFF2-40B4-BE49-F238E27FC236}">
                <a16:creationId xmlns:a16="http://schemas.microsoft.com/office/drawing/2014/main" id="{85265B6E-3836-9C4C-B175-D9680AA60EC2}"/>
              </a:ext>
            </a:extLst>
          </p:cNvPr>
          <p:cNvSpPr/>
          <p:nvPr/>
        </p:nvSpPr>
        <p:spPr>
          <a:xfrm>
            <a:off x="9486364" y="1775252"/>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1" name="Google Shape;1658;p34">
            <a:extLst>
              <a:ext uri="{FF2B5EF4-FFF2-40B4-BE49-F238E27FC236}">
                <a16:creationId xmlns:a16="http://schemas.microsoft.com/office/drawing/2014/main" id="{1C817AEE-0AC0-EAFE-6B62-43DDB4940C66}"/>
              </a:ext>
            </a:extLst>
          </p:cNvPr>
          <p:cNvSpPr/>
          <p:nvPr/>
        </p:nvSpPr>
        <p:spPr>
          <a:xfrm>
            <a:off x="2982351" y="3677720"/>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2" name="Google Shape;1658;p34">
            <a:extLst>
              <a:ext uri="{FF2B5EF4-FFF2-40B4-BE49-F238E27FC236}">
                <a16:creationId xmlns:a16="http://schemas.microsoft.com/office/drawing/2014/main" id="{81D003A3-73AC-4C80-61D8-19BC7DF8B911}"/>
              </a:ext>
            </a:extLst>
          </p:cNvPr>
          <p:cNvSpPr/>
          <p:nvPr/>
        </p:nvSpPr>
        <p:spPr>
          <a:xfrm>
            <a:off x="5246350" y="3673665"/>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3" name="Google Shape;1658;p34">
            <a:extLst>
              <a:ext uri="{FF2B5EF4-FFF2-40B4-BE49-F238E27FC236}">
                <a16:creationId xmlns:a16="http://schemas.microsoft.com/office/drawing/2014/main" id="{AC8E3993-6C0A-DA63-CC21-6218B7B3CFFC}"/>
              </a:ext>
            </a:extLst>
          </p:cNvPr>
          <p:cNvSpPr/>
          <p:nvPr/>
        </p:nvSpPr>
        <p:spPr>
          <a:xfrm>
            <a:off x="7390538" y="3673665"/>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75" name="Picture 74" descr="A circular logo with a group of people&#10;&#10;Description automatically generated">
            <a:extLst>
              <a:ext uri="{FF2B5EF4-FFF2-40B4-BE49-F238E27FC236}">
                <a16:creationId xmlns:a16="http://schemas.microsoft.com/office/drawing/2014/main" id="{D8266072-ECB5-10A5-3A05-5283A48A42D8}"/>
              </a:ext>
            </a:extLst>
          </p:cNvPr>
          <p:cNvPicPr>
            <a:picLocks noChangeAspect="1"/>
          </p:cNvPicPr>
          <p:nvPr/>
        </p:nvPicPr>
        <p:blipFill>
          <a:blip r:embed="rId3"/>
          <a:stretch>
            <a:fillRect/>
          </a:stretch>
        </p:blipFill>
        <p:spPr>
          <a:xfrm>
            <a:off x="1129852" y="1832956"/>
            <a:ext cx="876300" cy="866775"/>
          </a:xfrm>
          <a:prstGeom prst="rect">
            <a:avLst/>
          </a:prstGeom>
        </p:spPr>
      </p:pic>
      <p:pic>
        <p:nvPicPr>
          <p:cNvPr id="77" name="Picture 76" descr="A yellow and blue logo&#10;&#10;Description automatically generated">
            <a:extLst>
              <a:ext uri="{FF2B5EF4-FFF2-40B4-BE49-F238E27FC236}">
                <a16:creationId xmlns:a16="http://schemas.microsoft.com/office/drawing/2014/main" id="{B0545F19-1B13-4D5C-CF14-D2B27CEC8EA6}"/>
              </a:ext>
            </a:extLst>
          </p:cNvPr>
          <p:cNvPicPr>
            <a:picLocks noChangeAspect="1"/>
          </p:cNvPicPr>
          <p:nvPr/>
        </p:nvPicPr>
        <p:blipFill>
          <a:blip r:embed="rId4"/>
          <a:stretch>
            <a:fillRect/>
          </a:stretch>
        </p:blipFill>
        <p:spPr>
          <a:xfrm>
            <a:off x="3246745" y="1897966"/>
            <a:ext cx="1104900" cy="778787"/>
          </a:xfrm>
          <a:prstGeom prst="rect">
            <a:avLst/>
          </a:prstGeom>
        </p:spPr>
      </p:pic>
      <p:pic>
        <p:nvPicPr>
          <p:cNvPr id="79" name="Picture 78" descr="A blue text on a white background&#10;&#10;Description automatically generated">
            <a:extLst>
              <a:ext uri="{FF2B5EF4-FFF2-40B4-BE49-F238E27FC236}">
                <a16:creationId xmlns:a16="http://schemas.microsoft.com/office/drawing/2014/main" id="{0ED01A81-7C7E-E21E-DB71-AA843A77D150}"/>
              </a:ext>
            </a:extLst>
          </p:cNvPr>
          <p:cNvPicPr>
            <a:picLocks noChangeAspect="1"/>
          </p:cNvPicPr>
          <p:nvPr/>
        </p:nvPicPr>
        <p:blipFill rotWithShape="1">
          <a:blip r:embed="rId5"/>
          <a:srcRect t="-1" r="64307" b="-9987"/>
          <a:stretch/>
        </p:blipFill>
        <p:spPr>
          <a:xfrm>
            <a:off x="7774473" y="1819685"/>
            <a:ext cx="1054092" cy="995937"/>
          </a:xfrm>
          <a:prstGeom prst="rect">
            <a:avLst/>
          </a:prstGeom>
        </p:spPr>
      </p:pic>
      <p:pic>
        <p:nvPicPr>
          <p:cNvPr id="81" name="Picture 80" descr="A logo of a globe&#10;&#10;Description automatically generated">
            <a:extLst>
              <a:ext uri="{FF2B5EF4-FFF2-40B4-BE49-F238E27FC236}">
                <a16:creationId xmlns:a16="http://schemas.microsoft.com/office/drawing/2014/main" id="{DC22E295-3B03-DB3D-6D74-D426995EEBDC}"/>
              </a:ext>
            </a:extLst>
          </p:cNvPr>
          <p:cNvPicPr>
            <a:picLocks noChangeAspect="1"/>
          </p:cNvPicPr>
          <p:nvPr/>
        </p:nvPicPr>
        <p:blipFill>
          <a:blip r:embed="rId6"/>
          <a:stretch>
            <a:fillRect/>
          </a:stretch>
        </p:blipFill>
        <p:spPr>
          <a:xfrm>
            <a:off x="9899645" y="1801806"/>
            <a:ext cx="931641" cy="931641"/>
          </a:xfrm>
          <a:prstGeom prst="rect">
            <a:avLst/>
          </a:prstGeom>
        </p:spPr>
      </p:pic>
      <p:pic>
        <p:nvPicPr>
          <p:cNvPr id="83" name="Picture 82" descr="A blue and yellow flag with yellow stars&#10;&#10;Description automatically generated">
            <a:extLst>
              <a:ext uri="{FF2B5EF4-FFF2-40B4-BE49-F238E27FC236}">
                <a16:creationId xmlns:a16="http://schemas.microsoft.com/office/drawing/2014/main" id="{F556D6D9-3C61-F388-2C2C-C95A4926D513}"/>
              </a:ext>
            </a:extLst>
          </p:cNvPr>
          <p:cNvPicPr>
            <a:picLocks noChangeAspect="1"/>
          </p:cNvPicPr>
          <p:nvPr/>
        </p:nvPicPr>
        <p:blipFill>
          <a:blip r:embed="rId7"/>
          <a:stretch>
            <a:fillRect/>
          </a:stretch>
        </p:blipFill>
        <p:spPr>
          <a:xfrm>
            <a:off x="3277908" y="3685222"/>
            <a:ext cx="923645" cy="923645"/>
          </a:xfrm>
          <a:prstGeom prst="rect">
            <a:avLst/>
          </a:prstGeom>
        </p:spPr>
      </p:pic>
      <p:pic>
        <p:nvPicPr>
          <p:cNvPr id="85" name="Picture 84" descr="A logo with a world map&#10;&#10;Description automatically generated">
            <a:extLst>
              <a:ext uri="{FF2B5EF4-FFF2-40B4-BE49-F238E27FC236}">
                <a16:creationId xmlns:a16="http://schemas.microsoft.com/office/drawing/2014/main" id="{F66140BF-C350-758B-B4B6-C93083EC388F}"/>
              </a:ext>
            </a:extLst>
          </p:cNvPr>
          <p:cNvPicPr>
            <a:picLocks noChangeAspect="1"/>
          </p:cNvPicPr>
          <p:nvPr/>
        </p:nvPicPr>
        <p:blipFill>
          <a:blip r:embed="rId8"/>
          <a:stretch>
            <a:fillRect/>
          </a:stretch>
        </p:blipFill>
        <p:spPr>
          <a:xfrm>
            <a:off x="5607398" y="3708544"/>
            <a:ext cx="900324" cy="900324"/>
          </a:xfrm>
          <a:prstGeom prst="rect">
            <a:avLst/>
          </a:prstGeom>
        </p:spPr>
      </p:pic>
      <p:pic>
        <p:nvPicPr>
          <p:cNvPr id="87" name="Picture 86" descr="A blue and green globe with white text&#10;&#10;Description automatically generated">
            <a:extLst>
              <a:ext uri="{FF2B5EF4-FFF2-40B4-BE49-F238E27FC236}">
                <a16:creationId xmlns:a16="http://schemas.microsoft.com/office/drawing/2014/main" id="{0C0A85F5-302C-0663-EE45-BD348F462A01}"/>
              </a:ext>
            </a:extLst>
          </p:cNvPr>
          <p:cNvPicPr>
            <a:picLocks noChangeAspect="1"/>
          </p:cNvPicPr>
          <p:nvPr/>
        </p:nvPicPr>
        <p:blipFill>
          <a:blip r:embed="rId9"/>
          <a:stretch>
            <a:fillRect/>
          </a:stretch>
        </p:blipFill>
        <p:spPr>
          <a:xfrm>
            <a:off x="7851357" y="3752041"/>
            <a:ext cx="900323" cy="900323"/>
          </a:xfrm>
          <a:prstGeom prst="rect">
            <a:avLst/>
          </a:prstGeom>
        </p:spPr>
      </p:pic>
    </p:spTree>
    <p:extLst>
      <p:ext uri="{BB962C8B-B14F-4D97-AF65-F5344CB8AC3E}">
        <p14:creationId xmlns:p14="http://schemas.microsoft.com/office/powerpoint/2010/main" val="36422288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640"/>
        <p:cNvGrpSpPr/>
        <p:nvPr/>
      </p:nvGrpSpPr>
      <p:grpSpPr>
        <a:xfrm>
          <a:off x="0" y="0"/>
          <a:ext cx="0" cy="0"/>
          <a:chOff x="0" y="0"/>
          <a:chExt cx="0" cy="0"/>
        </a:xfrm>
      </p:grpSpPr>
      <p:sp>
        <p:nvSpPr>
          <p:cNvPr id="1641" name="Google Shape;1641;p34"/>
          <p:cNvSpPr txBox="1"/>
          <p:nvPr/>
        </p:nvSpPr>
        <p:spPr>
          <a:xfrm>
            <a:off x="4201553" y="347137"/>
            <a:ext cx="37888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AF PARTNERS</a:t>
            </a:r>
            <a:endParaRPr sz="1400" b="0" i="0" u="none" strike="noStrike" cap="none">
              <a:solidFill>
                <a:srgbClr val="000000"/>
              </a:solidFill>
              <a:latin typeface="Arial"/>
              <a:ea typeface="Arial"/>
              <a:cs typeface="Arial"/>
              <a:sym typeface="Arial"/>
            </a:endParaRPr>
          </a:p>
        </p:txBody>
      </p:sp>
      <p:cxnSp>
        <p:nvCxnSpPr>
          <p:cNvPr id="1642" name="Google Shape;1642;p34"/>
          <p:cNvCxnSpPr/>
          <p:nvPr/>
        </p:nvCxnSpPr>
        <p:spPr>
          <a:xfrm>
            <a:off x="5529618" y="94069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643" name="Google Shape;1643;p34"/>
          <p:cNvSpPr/>
          <p:nvPr/>
        </p:nvSpPr>
        <p:spPr>
          <a:xfrm>
            <a:off x="692207"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4" name="Google Shape;1644;p34"/>
          <p:cNvSpPr txBox="1"/>
          <p:nvPr/>
        </p:nvSpPr>
        <p:spPr>
          <a:xfrm>
            <a:off x="422930" y="2916970"/>
            <a:ext cx="223785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Laboratory Accreditation Cooperation</a:t>
            </a:r>
            <a:endParaRPr sz="1400" b="0" i="0" u="none" strike="noStrike" cap="none">
              <a:solidFill>
                <a:srgbClr val="000000"/>
              </a:solidFill>
              <a:latin typeface="Arial"/>
              <a:ea typeface="Arial"/>
              <a:cs typeface="Arial"/>
              <a:sym typeface="Arial"/>
            </a:endParaRPr>
          </a:p>
        </p:txBody>
      </p:sp>
      <p:sp>
        <p:nvSpPr>
          <p:cNvPr id="1645" name="Google Shape;1645;p34"/>
          <p:cNvSpPr txBox="1"/>
          <p:nvPr/>
        </p:nvSpPr>
        <p:spPr>
          <a:xfrm>
            <a:off x="449075" y="1124244"/>
            <a:ext cx="11293850"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AF works with a number of </a:t>
            </a:r>
            <a:r>
              <a:rPr lang="en-US" sz="1100" b="0" i="0" u="none" strike="noStrike" cap="none" err="1">
                <a:solidFill>
                  <a:schemeClr val="dk1"/>
                </a:solidFill>
                <a:latin typeface="Poppins"/>
                <a:ea typeface="Poppins"/>
                <a:cs typeface="Poppins"/>
                <a:sym typeface="Poppins"/>
              </a:rPr>
              <a:t>organisations</a:t>
            </a:r>
            <a:r>
              <a:rPr lang="en-US" sz="1100" b="0" i="0" u="none" strike="noStrike" cap="none">
                <a:solidFill>
                  <a:schemeClr val="dk1"/>
                </a:solidFill>
                <a:latin typeface="Poppins"/>
                <a:ea typeface="Poppins"/>
                <a:cs typeface="Poppins"/>
                <a:sym typeface="Poppins"/>
              </a:rPr>
              <a:t> and cooperates with many international bodies, including numerous MoU partners, to achieve shared objectives.</a:t>
            </a:r>
            <a:endParaRPr sz="1400" b="0" i="0" u="none" strike="noStrike" cap="none">
              <a:solidFill>
                <a:srgbClr val="000000"/>
              </a:solidFill>
              <a:latin typeface="Arial"/>
              <a:ea typeface="Arial"/>
              <a:cs typeface="Arial"/>
              <a:sym typeface="Arial"/>
            </a:endParaRPr>
          </a:p>
        </p:txBody>
      </p:sp>
      <p:sp>
        <p:nvSpPr>
          <p:cNvPr id="1646" name="Google Shape;1646;p34"/>
          <p:cNvSpPr/>
          <p:nvPr/>
        </p:nvSpPr>
        <p:spPr>
          <a:xfrm>
            <a:off x="2956206"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7" name="Google Shape;1647;p34"/>
          <p:cNvSpPr/>
          <p:nvPr/>
        </p:nvSpPr>
        <p:spPr>
          <a:xfrm>
            <a:off x="5220205"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8" name="Google Shape;1648;p34"/>
          <p:cNvSpPr/>
          <p:nvPr/>
        </p:nvSpPr>
        <p:spPr>
          <a:xfrm>
            <a:off x="9748203"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9" name="Google Shape;1649;p34"/>
          <p:cNvSpPr/>
          <p:nvPr/>
        </p:nvSpPr>
        <p:spPr>
          <a:xfrm>
            <a:off x="7484204"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0" name="Google Shape;1650;p34"/>
          <p:cNvSpPr/>
          <p:nvPr/>
        </p:nvSpPr>
        <p:spPr>
          <a:xfrm>
            <a:off x="692207"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1" name="Google Shape;1651;p34"/>
          <p:cNvSpPr txBox="1"/>
          <p:nvPr/>
        </p:nvSpPr>
        <p:spPr>
          <a:xfrm>
            <a:off x="396785" y="4914452"/>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Organization of Legal Metrology</a:t>
            </a:r>
            <a:endParaRPr sz="1400" b="0" i="0" u="none" strike="noStrike" cap="none">
              <a:solidFill>
                <a:srgbClr val="000000"/>
              </a:solidFill>
              <a:latin typeface="Arial"/>
              <a:ea typeface="Arial"/>
              <a:cs typeface="Arial"/>
              <a:sym typeface="Arial"/>
            </a:endParaRPr>
          </a:p>
        </p:txBody>
      </p:sp>
      <p:sp>
        <p:nvSpPr>
          <p:cNvPr id="1652" name="Google Shape;1652;p34"/>
          <p:cNvSpPr/>
          <p:nvPr/>
        </p:nvSpPr>
        <p:spPr>
          <a:xfrm>
            <a:off x="2956206"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3" name="Google Shape;1653;p34"/>
          <p:cNvSpPr/>
          <p:nvPr/>
        </p:nvSpPr>
        <p:spPr>
          <a:xfrm>
            <a:off x="5220205"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4" name="Google Shape;1654;p34"/>
          <p:cNvSpPr/>
          <p:nvPr/>
        </p:nvSpPr>
        <p:spPr>
          <a:xfrm>
            <a:off x="9748203"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5" name="Google Shape;1655;p34"/>
          <p:cNvSpPr/>
          <p:nvPr/>
        </p:nvSpPr>
        <p:spPr>
          <a:xfrm>
            <a:off x="7484204"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62" name="Google Shape;1662;p34"/>
          <p:cNvSpPr txBox="1"/>
          <p:nvPr/>
        </p:nvSpPr>
        <p:spPr>
          <a:xfrm>
            <a:off x="2686929" y="2916970"/>
            <a:ext cx="223785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a:t>
            </a:r>
            <a:r>
              <a:rPr lang="en-US" sz="1150" b="0" i="0" u="none" strike="noStrike" cap="none" err="1">
                <a:solidFill>
                  <a:schemeClr val="dk1"/>
                </a:solidFill>
                <a:latin typeface="Poppins"/>
                <a:ea typeface="Poppins"/>
                <a:cs typeface="Poppins"/>
                <a:sym typeface="Poppins"/>
              </a:rPr>
              <a:t>Organisation</a:t>
            </a:r>
            <a:r>
              <a:rPr lang="en-US" sz="1150" b="0" i="0" u="none" strike="noStrike" cap="none">
                <a:solidFill>
                  <a:schemeClr val="dk1"/>
                </a:solidFill>
                <a:latin typeface="Poppins"/>
                <a:ea typeface="Poppins"/>
                <a:cs typeface="Poppins"/>
                <a:sym typeface="Poppins"/>
              </a:rPr>
              <a:t>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for </a:t>
            </a:r>
            <a:r>
              <a:rPr lang="en-US" sz="1150" b="0" i="0" u="none" strike="noStrike" cap="none" err="1">
                <a:solidFill>
                  <a:schemeClr val="dk1"/>
                </a:solidFill>
                <a:latin typeface="Poppins"/>
                <a:ea typeface="Poppins"/>
                <a:cs typeface="Poppins"/>
                <a:sym typeface="Poppins"/>
              </a:rPr>
              <a:t>Standardisation</a:t>
            </a:r>
            <a:r>
              <a:rPr lang="en-US" sz="1150" b="0" i="0" u="none" strike="noStrike" cap="none">
                <a:solidFill>
                  <a:schemeClr val="dk1"/>
                </a:solidFill>
                <a:latin typeface="Poppins"/>
                <a:ea typeface="Poppins"/>
                <a:cs typeface="Poppins"/>
                <a:sym typeface="Poppins"/>
              </a:rPr>
              <a:t> </a:t>
            </a:r>
            <a:endParaRPr sz="1400" b="0" i="0" u="none" strike="noStrike" cap="none">
              <a:solidFill>
                <a:srgbClr val="000000"/>
              </a:solidFill>
              <a:latin typeface="Arial"/>
              <a:ea typeface="Arial"/>
              <a:cs typeface="Arial"/>
              <a:sym typeface="Arial"/>
            </a:endParaRPr>
          </a:p>
        </p:txBody>
      </p:sp>
      <p:sp>
        <p:nvSpPr>
          <p:cNvPr id="1663" name="Google Shape;1663;p34"/>
          <p:cNvSpPr txBox="1"/>
          <p:nvPr/>
        </p:nvSpPr>
        <p:spPr>
          <a:xfrm>
            <a:off x="4950928" y="2916970"/>
            <a:ext cx="223785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UN Industrial Development </a:t>
            </a:r>
            <a:r>
              <a:rPr lang="en-US" sz="1150" b="0" i="0" u="none" strike="noStrike" cap="none" err="1">
                <a:solidFill>
                  <a:schemeClr val="dk1"/>
                </a:solidFill>
                <a:latin typeface="Poppins"/>
                <a:ea typeface="Poppins"/>
                <a:cs typeface="Poppins"/>
                <a:sym typeface="Poppins"/>
              </a:rPr>
              <a:t>Organisation</a:t>
            </a:r>
            <a:endParaRPr sz="1150" b="0" i="0" u="none" strike="noStrike" cap="none" err="1">
              <a:solidFill>
                <a:schemeClr val="dk1"/>
              </a:solidFill>
              <a:latin typeface="Poppins"/>
              <a:ea typeface="Poppins"/>
              <a:cs typeface="Poppins"/>
              <a:sym typeface="Poppins"/>
            </a:endParaRPr>
          </a:p>
        </p:txBody>
      </p:sp>
      <p:sp>
        <p:nvSpPr>
          <p:cNvPr id="1664" name="Google Shape;1664;p34"/>
          <p:cNvSpPr txBox="1"/>
          <p:nvPr/>
        </p:nvSpPr>
        <p:spPr>
          <a:xfrm>
            <a:off x="7070887" y="2916970"/>
            <a:ext cx="252593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Electrotechnical Commission</a:t>
            </a:r>
            <a:endParaRPr sz="1400" b="0" i="0" u="none" strike="noStrike" cap="none">
              <a:solidFill>
                <a:srgbClr val="000000"/>
              </a:solidFill>
              <a:latin typeface="Arial"/>
              <a:ea typeface="Arial"/>
              <a:cs typeface="Arial"/>
              <a:sym typeface="Arial"/>
            </a:endParaRPr>
          </a:p>
        </p:txBody>
      </p:sp>
      <p:sp>
        <p:nvSpPr>
          <p:cNvPr id="1665" name="Google Shape;1665;p34"/>
          <p:cNvSpPr txBox="1"/>
          <p:nvPr/>
        </p:nvSpPr>
        <p:spPr>
          <a:xfrm>
            <a:off x="9452781" y="2916970"/>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Telecommunications Union</a:t>
            </a:r>
            <a:endParaRPr sz="1400" b="0" i="0" u="none" strike="noStrike" cap="none">
              <a:solidFill>
                <a:srgbClr val="000000"/>
              </a:solidFill>
              <a:latin typeface="Arial"/>
              <a:ea typeface="Arial"/>
              <a:cs typeface="Arial"/>
              <a:sym typeface="Arial"/>
            </a:endParaRPr>
          </a:p>
        </p:txBody>
      </p:sp>
      <p:sp>
        <p:nvSpPr>
          <p:cNvPr id="1666" name="Google Shape;1666;p34"/>
          <p:cNvSpPr txBox="1"/>
          <p:nvPr/>
        </p:nvSpPr>
        <p:spPr>
          <a:xfrm>
            <a:off x="2660784" y="4914452"/>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The Global Food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Safety Initiative</a:t>
            </a:r>
            <a:endParaRPr sz="1400" b="0" i="0" u="none" strike="noStrike" cap="none">
              <a:solidFill>
                <a:srgbClr val="000000"/>
              </a:solidFill>
              <a:latin typeface="Arial"/>
              <a:ea typeface="Arial"/>
              <a:cs typeface="Arial"/>
              <a:sym typeface="Arial"/>
            </a:endParaRPr>
          </a:p>
        </p:txBody>
      </p:sp>
      <p:sp>
        <p:nvSpPr>
          <p:cNvPr id="1667" name="Google Shape;1667;p34"/>
          <p:cNvSpPr txBox="1"/>
          <p:nvPr/>
        </p:nvSpPr>
        <p:spPr>
          <a:xfrm>
            <a:off x="4924783" y="4914452"/>
            <a:ext cx="229014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World Bank</a:t>
            </a:r>
            <a:endParaRPr sz="1400" b="0" i="0" u="none" strike="noStrike" cap="none">
              <a:solidFill>
                <a:srgbClr val="000000"/>
              </a:solidFill>
              <a:latin typeface="Arial"/>
              <a:ea typeface="Arial"/>
              <a:cs typeface="Arial"/>
              <a:sym typeface="Arial"/>
            </a:endParaRPr>
          </a:p>
        </p:txBody>
      </p:sp>
      <p:sp>
        <p:nvSpPr>
          <p:cNvPr id="1668" name="Google Shape;1668;p34"/>
          <p:cNvSpPr txBox="1"/>
          <p:nvPr/>
        </p:nvSpPr>
        <p:spPr>
          <a:xfrm>
            <a:off x="7214927" y="4914452"/>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Civil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Aviation Organization</a:t>
            </a:r>
            <a:endParaRPr sz="1400" b="0" i="0" u="none" strike="noStrike" cap="none">
              <a:solidFill>
                <a:srgbClr val="000000"/>
              </a:solidFill>
              <a:latin typeface="Arial"/>
              <a:ea typeface="Arial"/>
              <a:cs typeface="Arial"/>
              <a:sym typeface="Arial"/>
            </a:endParaRPr>
          </a:p>
        </p:txBody>
      </p:sp>
      <p:sp>
        <p:nvSpPr>
          <p:cNvPr id="1669" name="Google Shape;1669;p34"/>
          <p:cNvSpPr txBox="1"/>
          <p:nvPr/>
        </p:nvSpPr>
        <p:spPr>
          <a:xfrm>
            <a:off x="9426636" y="4914452"/>
            <a:ext cx="229014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GLOBALG.A.P.</a:t>
            </a:r>
            <a:endParaRPr sz="1400" b="0" i="0" u="none" strike="noStrike" cap="none">
              <a:solidFill>
                <a:srgbClr val="000000"/>
              </a:solidFill>
              <a:latin typeface="Arial"/>
              <a:ea typeface="Arial"/>
              <a:cs typeface="Arial"/>
              <a:sym typeface="Arial"/>
            </a:endParaRPr>
          </a:p>
        </p:txBody>
      </p:sp>
      <p:pic>
        <p:nvPicPr>
          <p:cNvPr id="1674" name="Google Shape;1674;p34" descr="ilacRGB"/>
          <p:cNvPicPr preferRelativeResize="0"/>
          <p:nvPr/>
        </p:nvPicPr>
        <p:blipFill rotWithShape="1">
          <a:blip r:embed="rId3">
            <a:alphaModFix/>
          </a:blip>
          <a:srcRect/>
          <a:stretch/>
        </p:blipFill>
        <p:spPr>
          <a:xfrm>
            <a:off x="1237045" y="2005834"/>
            <a:ext cx="609625" cy="608133"/>
          </a:xfrm>
          <a:prstGeom prst="rect">
            <a:avLst/>
          </a:prstGeom>
          <a:noFill/>
          <a:ln>
            <a:noFill/>
          </a:ln>
        </p:spPr>
      </p:pic>
      <p:pic>
        <p:nvPicPr>
          <p:cNvPr id="1675" name="Google Shape;1675;p34"/>
          <p:cNvPicPr preferRelativeResize="0"/>
          <p:nvPr/>
        </p:nvPicPr>
        <p:blipFill rotWithShape="1">
          <a:blip r:embed="rId4">
            <a:alphaModFix/>
          </a:blip>
          <a:srcRect/>
          <a:stretch/>
        </p:blipFill>
        <p:spPr>
          <a:xfrm>
            <a:off x="3496015" y="2022957"/>
            <a:ext cx="619683" cy="573887"/>
          </a:xfrm>
          <a:prstGeom prst="rect">
            <a:avLst/>
          </a:prstGeom>
          <a:noFill/>
          <a:ln>
            <a:noFill/>
          </a:ln>
        </p:spPr>
      </p:pic>
      <p:pic>
        <p:nvPicPr>
          <p:cNvPr id="1676" name="Google Shape;1676;p34"/>
          <p:cNvPicPr preferRelativeResize="0"/>
          <p:nvPr/>
        </p:nvPicPr>
        <p:blipFill rotWithShape="1">
          <a:blip r:embed="rId5">
            <a:alphaModFix/>
          </a:blip>
          <a:srcRect/>
          <a:stretch/>
        </p:blipFill>
        <p:spPr>
          <a:xfrm>
            <a:off x="5653461" y="1923871"/>
            <a:ext cx="832788" cy="772059"/>
          </a:xfrm>
          <a:prstGeom prst="rect">
            <a:avLst/>
          </a:prstGeom>
          <a:noFill/>
          <a:ln>
            <a:noFill/>
          </a:ln>
        </p:spPr>
      </p:pic>
      <p:pic>
        <p:nvPicPr>
          <p:cNvPr id="1677" name="Google Shape;1677;p34"/>
          <p:cNvPicPr preferRelativeResize="0"/>
          <p:nvPr/>
        </p:nvPicPr>
        <p:blipFill rotWithShape="1">
          <a:blip r:embed="rId6">
            <a:alphaModFix/>
          </a:blip>
          <a:srcRect/>
          <a:stretch/>
        </p:blipFill>
        <p:spPr>
          <a:xfrm>
            <a:off x="8024013" y="2016145"/>
            <a:ext cx="619683" cy="587511"/>
          </a:xfrm>
          <a:prstGeom prst="rect">
            <a:avLst/>
          </a:prstGeom>
          <a:noFill/>
          <a:ln>
            <a:noFill/>
          </a:ln>
        </p:spPr>
      </p:pic>
      <p:pic>
        <p:nvPicPr>
          <p:cNvPr id="1679" name="Google Shape;1679;p34"/>
          <p:cNvPicPr preferRelativeResize="0"/>
          <p:nvPr/>
        </p:nvPicPr>
        <p:blipFill rotWithShape="1">
          <a:blip r:embed="rId7">
            <a:alphaModFix/>
          </a:blip>
          <a:srcRect/>
          <a:stretch/>
        </p:blipFill>
        <p:spPr>
          <a:xfrm>
            <a:off x="1203733" y="4019350"/>
            <a:ext cx="676249" cy="576064"/>
          </a:xfrm>
          <a:prstGeom prst="rect">
            <a:avLst/>
          </a:prstGeom>
          <a:noFill/>
          <a:ln>
            <a:noFill/>
          </a:ln>
        </p:spPr>
      </p:pic>
      <p:pic>
        <p:nvPicPr>
          <p:cNvPr id="1680" name="Google Shape;1680;p34"/>
          <p:cNvPicPr preferRelativeResize="0"/>
          <p:nvPr/>
        </p:nvPicPr>
        <p:blipFill rotWithShape="1">
          <a:blip r:embed="rId8">
            <a:alphaModFix/>
          </a:blip>
          <a:srcRect/>
          <a:stretch/>
        </p:blipFill>
        <p:spPr>
          <a:xfrm>
            <a:off x="3359078" y="4079555"/>
            <a:ext cx="893558" cy="455654"/>
          </a:xfrm>
          <a:prstGeom prst="rect">
            <a:avLst/>
          </a:prstGeom>
          <a:noFill/>
          <a:ln>
            <a:noFill/>
          </a:ln>
        </p:spPr>
      </p:pic>
      <p:pic>
        <p:nvPicPr>
          <p:cNvPr id="1682" name="Google Shape;1682;p34"/>
          <p:cNvPicPr preferRelativeResize="0"/>
          <p:nvPr/>
        </p:nvPicPr>
        <p:blipFill rotWithShape="1">
          <a:blip r:embed="rId9">
            <a:alphaModFix/>
          </a:blip>
          <a:srcRect/>
          <a:stretch/>
        </p:blipFill>
        <p:spPr>
          <a:xfrm>
            <a:off x="7940464" y="3970302"/>
            <a:ext cx="786780" cy="674160"/>
          </a:xfrm>
          <a:prstGeom prst="rect">
            <a:avLst/>
          </a:prstGeom>
          <a:noFill/>
          <a:ln>
            <a:noFill/>
          </a:ln>
        </p:spPr>
      </p:pic>
      <p:pic>
        <p:nvPicPr>
          <p:cNvPr id="2" name="Picture 1" descr="GLOBAL G.A.P. Logo PNG Vector (AI) Free Download">
            <a:extLst>
              <a:ext uri="{FF2B5EF4-FFF2-40B4-BE49-F238E27FC236}">
                <a16:creationId xmlns:a16="http://schemas.microsoft.com/office/drawing/2014/main" id="{6D64E234-6CB0-AB84-5F00-549436C59CB6}"/>
              </a:ext>
            </a:extLst>
          </p:cNvPr>
          <p:cNvPicPr>
            <a:picLocks noChangeAspect="1"/>
          </p:cNvPicPr>
          <p:nvPr/>
        </p:nvPicPr>
        <p:blipFill>
          <a:blip r:embed="rId10"/>
          <a:stretch>
            <a:fillRect/>
          </a:stretch>
        </p:blipFill>
        <p:spPr>
          <a:xfrm>
            <a:off x="9941478" y="3971143"/>
            <a:ext cx="1311876" cy="610838"/>
          </a:xfrm>
          <a:prstGeom prst="rect">
            <a:avLst/>
          </a:prstGeom>
        </p:spPr>
      </p:pic>
      <p:pic>
        <p:nvPicPr>
          <p:cNvPr id="3" name="Picture 2" descr="ITU">
            <a:extLst>
              <a:ext uri="{FF2B5EF4-FFF2-40B4-BE49-F238E27FC236}">
                <a16:creationId xmlns:a16="http://schemas.microsoft.com/office/drawing/2014/main" id="{FC0E4DD7-F515-23B9-C24E-A6481B8AFC0F}"/>
              </a:ext>
            </a:extLst>
          </p:cNvPr>
          <p:cNvPicPr>
            <a:picLocks noChangeAspect="1"/>
          </p:cNvPicPr>
          <p:nvPr/>
        </p:nvPicPr>
        <p:blipFill>
          <a:blip r:embed="rId11"/>
          <a:stretch>
            <a:fillRect/>
          </a:stretch>
        </p:blipFill>
        <p:spPr>
          <a:xfrm>
            <a:off x="10278788" y="1882691"/>
            <a:ext cx="737236" cy="852956"/>
          </a:xfrm>
          <a:prstGeom prst="rect">
            <a:avLst/>
          </a:prstGeom>
        </p:spPr>
      </p:pic>
      <p:pic>
        <p:nvPicPr>
          <p:cNvPr id="4" name="Picture 3" descr="A blue text on a black background&#10;&#10;Description automatically generated">
            <a:extLst>
              <a:ext uri="{FF2B5EF4-FFF2-40B4-BE49-F238E27FC236}">
                <a16:creationId xmlns:a16="http://schemas.microsoft.com/office/drawing/2014/main" id="{31AD60EF-BA13-6EEA-B3DB-84D071424073}"/>
              </a:ext>
            </a:extLst>
          </p:cNvPr>
          <p:cNvPicPr>
            <a:picLocks noChangeAspect="1"/>
          </p:cNvPicPr>
          <p:nvPr/>
        </p:nvPicPr>
        <p:blipFill>
          <a:blip r:embed="rId12"/>
          <a:stretch>
            <a:fillRect/>
          </a:stretch>
        </p:blipFill>
        <p:spPr>
          <a:xfrm>
            <a:off x="5341744" y="4168129"/>
            <a:ext cx="1453117" cy="277394"/>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640"/>
        <p:cNvGrpSpPr/>
        <p:nvPr/>
      </p:nvGrpSpPr>
      <p:grpSpPr>
        <a:xfrm>
          <a:off x="0" y="0"/>
          <a:ext cx="0" cy="0"/>
          <a:chOff x="0" y="0"/>
          <a:chExt cx="0" cy="0"/>
        </a:xfrm>
      </p:grpSpPr>
      <p:sp>
        <p:nvSpPr>
          <p:cNvPr id="1641" name="Google Shape;1641;p34"/>
          <p:cNvSpPr txBox="1"/>
          <p:nvPr/>
        </p:nvSpPr>
        <p:spPr>
          <a:xfrm>
            <a:off x="4201553" y="347137"/>
            <a:ext cx="4099966" cy="52318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AF PARTNERS </a:t>
            </a:r>
            <a:r>
              <a:rPr lang="en-US" sz="1800" b="1" i="0" u="none" strike="noStrike" cap="none">
                <a:solidFill>
                  <a:schemeClr val="dk1"/>
                </a:solidFill>
                <a:latin typeface="Poppins"/>
                <a:ea typeface="Poppins"/>
                <a:cs typeface="Poppins"/>
                <a:sym typeface="Poppins"/>
              </a:rPr>
              <a:t>(Continued</a:t>
            </a:r>
            <a:r>
              <a:rPr lang="en-US" sz="1800" b="1">
                <a:solidFill>
                  <a:schemeClr val="dk1"/>
                </a:solidFill>
                <a:latin typeface="Poppins"/>
                <a:ea typeface="Poppins"/>
                <a:cs typeface="Poppins"/>
                <a:sym typeface="Poppins"/>
              </a:rPr>
              <a:t>)</a:t>
            </a:r>
            <a:endParaRPr sz="1800" b="0" i="0" u="none" strike="noStrike" cap="none">
              <a:solidFill>
                <a:srgbClr val="000000"/>
              </a:solidFill>
              <a:latin typeface="Arial"/>
              <a:ea typeface="Arial"/>
              <a:cs typeface="Arial"/>
              <a:sym typeface="Arial"/>
            </a:endParaRPr>
          </a:p>
        </p:txBody>
      </p:sp>
      <p:cxnSp>
        <p:nvCxnSpPr>
          <p:cNvPr id="1642" name="Google Shape;1642;p34"/>
          <p:cNvCxnSpPr/>
          <p:nvPr/>
        </p:nvCxnSpPr>
        <p:spPr>
          <a:xfrm>
            <a:off x="5678474" y="119587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658" name="Google Shape;1658;p34"/>
          <p:cNvSpPr/>
          <p:nvPr/>
        </p:nvSpPr>
        <p:spPr>
          <a:xfrm>
            <a:off x="2008829" y="180336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9" name="Google Shape;1659;p34"/>
          <p:cNvSpPr/>
          <p:nvPr/>
        </p:nvSpPr>
        <p:spPr>
          <a:xfrm>
            <a:off x="4272828" y="180336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60" name="Google Shape;1660;p34"/>
          <p:cNvSpPr/>
          <p:nvPr/>
        </p:nvSpPr>
        <p:spPr>
          <a:xfrm>
            <a:off x="8800826" y="180336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61" name="Google Shape;1661;p34"/>
          <p:cNvSpPr/>
          <p:nvPr/>
        </p:nvSpPr>
        <p:spPr>
          <a:xfrm>
            <a:off x="6536827" y="180336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70" name="Google Shape;1670;p34"/>
          <p:cNvSpPr txBox="1"/>
          <p:nvPr/>
        </p:nvSpPr>
        <p:spPr>
          <a:xfrm>
            <a:off x="1713407" y="2901526"/>
            <a:ext cx="2290144"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The Quality and Safety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System for Specialty Feed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gredients</a:t>
            </a:r>
            <a:endParaRPr sz="1400" b="0" i="0" u="none" strike="noStrike" cap="none">
              <a:solidFill>
                <a:srgbClr val="000000"/>
              </a:solidFill>
              <a:latin typeface="Arial"/>
              <a:ea typeface="Arial"/>
              <a:cs typeface="Arial"/>
              <a:sym typeface="Arial"/>
            </a:endParaRPr>
          </a:p>
        </p:txBody>
      </p:sp>
      <p:sp>
        <p:nvSpPr>
          <p:cNvPr id="1671" name="Google Shape;1671;p34"/>
          <p:cNvSpPr txBox="1"/>
          <p:nvPr/>
        </p:nvSpPr>
        <p:spPr>
          <a:xfrm>
            <a:off x="3977406" y="2901526"/>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dirty="0">
                <a:solidFill>
                  <a:schemeClr val="dk1"/>
                </a:solidFill>
                <a:latin typeface="Poppins"/>
                <a:ea typeface="Poppins"/>
                <a:cs typeface="Poppins"/>
                <a:sym typeface="Poppins"/>
              </a:rPr>
              <a:t>International Personnel Certification Association</a:t>
            </a:r>
            <a:endParaRPr sz="1400" b="0" i="0" u="none" strike="noStrike" cap="none" dirty="0">
              <a:solidFill>
                <a:srgbClr val="000000"/>
              </a:solidFill>
              <a:latin typeface="Arial"/>
              <a:ea typeface="Arial"/>
              <a:cs typeface="Arial"/>
              <a:sym typeface="Arial"/>
            </a:endParaRPr>
          </a:p>
        </p:txBody>
      </p:sp>
      <p:sp>
        <p:nvSpPr>
          <p:cNvPr id="1672" name="Google Shape;1672;p34"/>
          <p:cNvSpPr txBox="1"/>
          <p:nvPr/>
        </p:nvSpPr>
        <p:spPr>
          <a:xfrm>
            <a:off x="6385445" y="2901526"/>
            <a:ext cx="200206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Foundation FSSC</a:t>
            </a:r>
            <a:endParaRPr sz="1400" b="0" i="0" u="none" strike="noStrike" cap="none">
              <a:solidFill>
                <a:srgbClr val="000000"/>
              </a:solidFill>
              <a:latin typeface="Arial"/>
              <a:ea typeface="Arial"/>
              <a:cs typeface="Arial"/>
              <a:sym typeface="Arial"/>
            </a:endParaRPr>
          </a:p>
        </p:txBody>
      </p:sp>
      <p:sp>
        <p:nvSpPr>
          <p:cNvPr id="1673" name="Google Shape;1673;p34"/>
          <p:cNvSpPr txBox="1"/>
          <p:nvPr/>
        </p:nvSpPr>
        <p:spPr>
          <a:xfrm>
            <a:off x="8649444" y="2901526"/>
            <a:ext cx="200206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etQI</a:t>
            </a:r>
            <a:endParaRPr sz="1150" b="0" i="0" u="none" strike="noStrike" cap="none">
              <a:solidFill>
                <a:schemeClr val="dk1"/>
              </a:solidFill>
              <a:latin typeface="Poppins"/>
              <a:ea typeface="Poppins"/>
              <a:cs typeface="Poppins"/>
              <a:sym typeface="Poppins"/>
            </a:endParaRPr>
          </a:p>
        </p:txBody>
      </p:sp>
      <p:pic>
        <p:nvPicPr>
          <p:cNvPr id="1685" name="Google Shape;1685;p34"/>
          <p:cNvPicPr preferRelativeResize="0"/>
          <p:nvPr/>
        </p:nvPicPr>
        <p:blipFill rotWithShape="1">
          <a:blip r:embed="rId3">
            <a:alphaModFix/>
          </a:blip>
          <a:srcRect/>
          <a:stretch/>
        </p:blipFill>
        <p:spPr>
          <a:xfrm>
            <a:off x="2331849" y="2132079"/>
            <a:ext cx="1053260" cy="324754"/>
          </a:xfrm>
          <a:prstGeom prst="rect">
            <a:avLst/>
          </a:prstGeom>
          <a:noFill/>
          <a:ln>
            <a:noFill/>
          </a:ln>
        </p:spPr>
      </p:pic>
      <p:pic>
        <p:nvPicPr>
          <p:cNvPr id="1686" name="Google Shape;1686;p34"/>
          <p:cNvPicPr preferRelativeResize="0"/>
          <p:nvPr/>
        </p:nvPicPr>
        <p:blipFill rotWithShape="1">
          <a:blip r:embed="rId4">
            <a:alphaModFix/>
          </a:blip>
          <a:srcRect/>
          <a:stretch/>
        </p:blipFill>
        <p:spPr>
          <a:xfrm>
            <a:off x="4627323" y="2059257"/>
            <a:ext cx="990311" cy="470398"/>
          </a:xfrm>
          <a:prstGeom prst="rect">
            <a:avLst/>
          </a:prstGeom>
          <a:noFill/>
          <a:ln>
            <a:noFill/>
          </a:ln>
        </p:spPr>
      </p:pic>
      <p:pic>
        <p:nvPicPr>
          <p:cNvPr id="1687" name="Google Shape;1687;p34" descr="A logo with green and grey text&#10;&#10;Description automatically generated"/>
          <p:cNvPicPr preferRelativeResize="0"/>
          <p:nvPr/>
        </p:nvPicPr>
        <p:blipFill rotWithShape="1">
          <a:blip r:embed="rId5"/>
          <a:srcRect/>
          <a:stretch/>
        </p:blipFill>
        <p:spPr>
          <a:xfrm>
            <a:off x="6718001" y="1643754"/>
            <a:ext cx="1325907" cy="1301403"/>
          </a:xfrm>
          <a:prstGeom prst="rect">
            <a:avLst/>
          </a:prstGeom>
          <a:noFill/>
          <a:ln>
            <a:noFill/>
          </a:ln>
        </p:spPr>
      </p:pic>
      <p:pic>
        <p:nvPicPr>
          <p:cNvPr id="1688" name="Google Shape;1688;p34"/>
          <p:cNvPicPr preferRelativeResize="0"/>
          <p:nvPr/>
        </p:nvPicPr>
        <p:blipFill rotWithShape="1">
          <a:blip r:embed="rId6">
            <a:alphaModFix/>
          </a:blip>
          <a:srcRect/>
          <a:stretch/>
        </p:blipFill>
        <p:spPr>
          <a:xfrm>
            <a:off x="9298499" y="2023629"/>
            <a:ext cx="703954" cy="541654"/>
          </a:xfrm>
          <a:prstGeom prst="rect">
            <a:avLst/>
          </a:prstGeom>
          <a:noFill/>
          <a:ln>
            <a:noFill/>
          </a:ln>
        </p:spPr>
      </p:pic>
      <p:sp>
        <p:nvSpPr>
          <p:cNvPr id="2" name="Google Shape;1656;p34">
            <a:extLst>
              <a:ext uri="{FF2B5EF4-FFF2-40B4-BE49-F238E27FC236}">
                <a16:creationId xmlns:a16="http://schemas.microsoft.com/office/drawing/2014/main" id="{26D5A965-76F0-C68A-32D7-CE98BC3E719A}"/>
              </a:ext>
            </a:extLst>
          </p:cNvPr>
          <p:cNvSpPr/>
          <p:nvPr/>
        </p:nvSpPr>
        <p:spPr>
          <a:xfrm>
            <a:off x="718352" y="3834573"/>
            <a:ext cx="1624879"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3" name="Google Shape;1657;p34">
            <a:extLst>
              <a:ext uri="{FF2B5EF4-FFF2-40B4-BE49-F238E27FC236}">
                <a16:creationId xmlns:a16="http://schemas.microsoft.com/office/drawing/2014/main" id="{3FA79603-40BC-9F8A-DE3C-7532AC7FBC1C}"/>
              </a:ext>
            </a:extLst>
          </p:cNvPr>
          <p:cNvSpPr txBox="1"/>
          <p:nvPr/>
        </p:nvSpPr>
        <p:spPr>
          <a:xfrm>
            <a:off x="566970" y="4932735"/>
            <a:ext cx="1914383" cy="2692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CA" sz="1150" b="0" i="0" u="none" strike="noStrike" cap="none">
                <a:solidFill>
                  <a:srgbClr val="000000"/>
                </a:solidFill>
                <a:latin typeface="Poppins" panose="00000500000000000000" pitchFamily="2" charset="0"/>
                <a:cs typeface="Poppins" panose="00000500000000000000" pitchFamily="2" charset="0"/>
                <a:sym typeface="Arial"/>
              </a:rPr>
              <a:t>BRC Trading Limited</a:t>
            </a:r>
            <a:endParaRPr sz="1150" b="0" i="0" u="none" strike="noStrike" cap="none">
              <a:solidFill>
                <a:srgbClr val="000000"/>
              </a:solidFill>
              <a:latin typeface="Poppins" panose="00000500000000000000" pitchFamily="2" charset="0"/>
              <a:cs typeface="Poppins" panose="00000500000000000000" pitchFamily="2" charset="0"/>
              <a:sym typeface="Arial"/>
            </a:endParaRPr>
          </a:p>
        </p:txBody>
      </p:sp>
      <p:sp>
        <p:nvSpPr>
          <p:cNvPr id="4" name="Google Shape;1658;p34">
            <a:extLst>
              <a:ext uri="{FF2B5EF4-FFF2-40B4-BE49-F238E27FC236}">
                <a16:creationId xmlns:a16="http://schemas.microsoft.com/office/drawing/2014/main" id="{FBABA244-E832-071C-EB17-6B9741B45EEA}"/>
              </a:ext>
            </a:extLst>
          </p:cNvPr>
          <p:cNvSpPr/>
          <p:nvPr/>
        </p:nvSpPr>
        <p:spPr>
          <a:xfrm>
            <a:off x="2982351" y="3834573"/>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5" name="Google Shape;1659;p34">
            <a:extLst>
              <a:ext uri="{FF2B5EF4-FFF2-40B4-BE49-F238E27FC236}">
                <a16:creationId xmlns:a16="http://schemas.microsoft.com/office/drawing/2014/main" id="{5B69DE3F-AEF5-9C75-2899-66FD15660B56}"/>
              </a:ext>
            </a:extLst>
          </p:cNvPr>
          <p:cNvSpPr/>
          <p:nvPr/>
        </p:nvSpPr>
        <p:spPr>
          <a:xfrm>
            <a:off x="5246350" y="3834573"/>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8" name="Google Shape;1670;p34">
            <a:extLst>
              <a:ext uri="{FF2B5EF4-FFF2-40B4-BE49-F238E27FC236}">
                <a16:creationId xmlns:a16="http://schemas.microsoft.com/office/drawing/2014/main" id="{10D2F3CC-1711-9DC4-9801-16CAB0911041}"/>
              </a:ext>
            </a:extLst>
          </p:cNvPr>
          <p:cNvSpPr txBox="1"/>
          <p:nvPr/>
        </p:nvSpPr>
        <p:spPr>
          <a:xfrm>
            <a:off x="2686929" y="4948164"/>
            <a:ext cx="2290144" cy="4462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CA" sz="1150" b="0" i="0" u="none" strike="noStrike" cap="none">
                <a:solidFill>
                  <a:srgbClr val="000000"/>
                </a:solidFill>
                <a:latin typeface="Poppins" panose="00000500000000000000" pitchFamily="2" charset="0"/>
                <a:cs typeface="Poppins" panose="00000500000000000000" pitchFamily="2" charset="0"/>
                <a:sym typeface="Arial"/>
              </a:rPr>
              <a:t>International Featured Standards </a:t>
            </a:r>
          </a:p>
        </p:txBody>
      </p:sp>
      <p:sp>
        <p:nvSpPr>
          <p:cNvPr id="9" name="Google Shape;1671;p34">
            <a:extLst>
              <a:ext uri="{FF2B5EF4-FFF2-40B4-BE49-F238E27FC236}">
                <a16:creationId xmlns:a16="http://schemas.microsoft.com/office/drawing/2014/main" id="{FF0E7A00-4791-7FB0-4EF4-7767030F245A}"/>
              </a:ext>
            </a:extLst>
          </p:cNvPr>
          <p:cNvSpPr txBox="1"/>
          <p:nvPr/>
        </p:nvSpPr>
        <p:spPr>
          <a:xfrm>
            <a:off x="4950928" y="4932735"/>
            <a:ext cx="2290144" cy="4462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CA" sz="1150" b="0" i="0" u="none" strike="noStrike" cap="none" dirty="0">
                <a:solidFill>
                  <a:srgbClr val="000000"/>
                </a:solidFill>
                <a:latin typeface="Poppins" panose="00000500000000000000" pitchFamily="2" charset="0"/>
                <a:cs typeface="Poppins" panose="00000500000000000000" pitchFamily="2" charset="0"/>
                <a:sym typeface="Arial"/>
              </a:rPr>
              <a:t>International Aerospace Quality Group</a:t>
            </a:r>
            <a:endParaRPr sz="1150" b="0" i="0" u="none" strike="noStrike" cap="none" dirty="0">
              <a:solidFill>
                <a:srgbClr val="000000"/>
              </a:solidFill>
              <a:latin typeface="Poppins" panose="00000500000000000000" pitchFamily="2" charset="0"/>
              <a:cs typeface="Poppins" panose="00000500000000000000" pitchFamily="2" charset="0"/>
              <a:sym typeface="Arial"/>
            </a:endParaRPr>
          </a:p>
        </p:txBody>
      </p:sp>
      <p:pic>
        <p:nvPicPr>
          <p:cNvPr id="20" name="Picture 19">
            <a:extLst>
              <a:ext uri="{FF2B5EF4-FFF2-40B4-BE49-F238E27FC236}">
                <a16:creationId xmlns:a16="http://schemas.microsoft.com/office/drawing/2014/main" id="{7D337C19-2AE5-FF62-2A89-BA07071633BE}"/>
              </a:ext>
            </a:extLst>
          </p:cNvPr>
          <p:cNvPicPr>
            <a:picLocks noChangeAspect="1"/>
          </p:cNvPicPr>
          <p:nvPr/>
        </p:nvPicPr>
        <p:blipFill>
          <a:blip r:embed="rId7"/>
          <a:stretch>
            <a:fillRect/>
          </a:stretch>
        </p:blipFill>
        <p:spPr>
          <a:xfrm>
            <a:off x="992381" y="4077339"/>
            <a:ext cx="1100824" cy="531605"/>
          </a:xfrm>
          <a:prstGeom prst="rect">
            <a:avLst/>
          </a:prstGeom>
        </p:spPr>
      </p:pic>
      <p:pic>
        <p:nvPicPr>
          <p:cNvPr id="22" name="Picture 21" descr="A picture containing text, font, logo, screenshot&#10;&#10;Description automatically generated">
            <a:extLst>
              <a:ext uri="{FF2B5EF4-FFF2-40B4-BE49-F238E27FC236}">
                <a16:creationId xmlns:a16="http://schemas.microsoft.com/office/drawing/2014/main" id="{7A665D22-129D-CB9B-ECFE-374132CF09A7}"/>
              </a:ext>
            </a:extLst>
          </p:cNvPr>
          <p:cNvPicPr>
            <a:picLocks noChangeAspect="1"/>
          </p:cNvPicPr>
          <p:nvPr/>
        </p:nvPicPr>
        <p:blipFill>
          <a:blip r:embed="rId8"/>
          <a:stretch>
            <a:fillRect/>
          </a:stretch>
        </p:blipFill>
        <p:spPr>
          <a:xfrm>
            <a:off x="3262168" y="4040975"/>
            <a:ext cx="1112213" cy="617896"/>
          </a:xfrm>
          <a:prstGeom prst="rect">
            <a:avLst/>
          </a:prstGeom>
        </p:spPr>
      </p:pic>
      <p:pic>
        <p:nvPicPr>
          <p:cNvPr id="24" name="Picture 23" descr="A picture containing text, graphics, font, circle&#10;&#10;Description automatically generated">
            <a:extLst>
              <a:ext uri="{FF2B5EF4-FFF2-40B4-BE49-F238E27FC236}">
                <a16:creationId xmlns:a16="http://schemas.microsoft.com/office/drawing/2014/main" id="{F4F32F69-C398-A5CE-BE64-4A96416699A0}"/>
              </a:ext>
            </a:extLst>
          </p:cNvPr>
          <p:cNvPicPr>
            <a:picLocks noChangeAspect="1"/>
          </p:cNvPicPr>
          <p:nvPr/>
        </p:nvPicPr>
        <p:blipFill>
          <a:blip r:embed="rId9"/>
          <a:stretch>
            <a:fillRect/>
          </a:stretch>
        </p:blipFill>
        <p:spPr>
          <a:xfrm>
            <a:off x="5682465" y="4031210"/>
            <a:ext cx="827070" cy="516919"/>
          </a:xfrm>
          <a:prstGeom prst="rect">
            <a:avLst/>
          </a:prstGeom>
        </p:spPr>
      </p:pic>
      <p:sp>
        <p:nvSpPr>
          <p:cNvPr id="6" name="Google Shape;1656;p34">
            <a:extLst>
              <a:ext uri="{FF2B5EF4-FFF2-40B4-BE49-F238E27FC236}">
                <a16:creationId xmlns:a16="http://schemas.microsoft.com/office/drawing/2014/main" id="{3C6F38F1-DD8B-3F6A-F4C1-F853C76AE0DB}"/>
              </a:ext>
            </a:extLst>
          </p:cNvPr>
          <p:cNvSpPr/>
          <p:nvPr/>
        </p:nvSpPr>
        <p:spPr>
          <a:xfrm>
            <a:off x="7541841" y="3815137"/>
            <a:ext cx="1624879"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 name="Google Shape;1657;p34">
            <a:extLst>
              <a:ext uri="{FF2B5EF4-FFF2-40B4-BE49-F238E27FC236}">
                <a16:creationId xmlns:a16="http://schemas.microsoft.com/office/drawing/2014/main" id="{4866ABC3-3E31-B4B2-E6C0-F5BA4D5600DB}"/>
              </a:ext>
            </a:extLst>
          </p:cNvPr>
          <p:cNvSpPr txBox="1"/>
          <p:nvPr/>
        </p:nvSpPr>
        <p:spPr>
          <a:xfrm>
            <a:off x="7390459" y="4913299"/>
            <a:ext cx="1914383" cy="430847"/>
          </a:xfrm>
          <a:prstGeom prst="rect">
            <a:avLst/>
          </a:prstGeom>
          <a:noFill/>
          <a:ln>
            <a:noFill/>
          </a:ln>
        </p:spPr>
        <p:txBody>
          <a:bodyPr spcFirstLastPara="1" wrap="square" lIns="91425" tIns="45700" rIns="91425" bIns="45700" anchor="t" anchorCtr="0">
            <a:spAutoFit/>
          </a:bodyPr>
          <a:lstStyle/>
          <a:p>
            <a:pPr algn="ctr">
              <a:buSzPts val="1150"/>
            </a:pPr>
            <a:r>
              <a:rPr lang="en-GB" sz="1100" dirty="0">
                <a:latin typeface="Poppins" panose="00000500000000000000" pitchFamily="2" charset="0"/>
                <a:cs typeface="Poppins" panose="00000500000000000000" pitchFamily="2" charset="0"/>
              </a:rPr>
              <a:t>European Centre for Certification and Privacy</a:t>
            </a:r>
          </a:p>
        </p:txBody>
      </p:sp>
      <p:sp>
        <p:nvSpPr>
          <p:cNvPr id="10" name="Google Shape;1658;p34">
            <a:extLst>
              <a:ext uri="{FF2B5EF4-FFF2-40B4-BE49-F238E27FC236}">
                <a16:creationId xmlns:a16="http://schemas.microsoft.com/office/drawing/2014/main" id="{B41B5E43-B56D-41A2-365F-27615AF473F4}"/>
              </a:ext>
            </a:extLst>
          </p:cNvPr>
          <p:cNvSpPr/>
          <p:nvPr/>
        </p:nvSpPr>
        <p:spPr>
          <a:xfrm>
            <a:off x="9805840" y="3815137"/>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1" name="Google Shape;1670;p34">
            <a:extLst>
              <a:ext uri="{FF2B5EF4-FFF2-40B4-BE49-F238E27FC236}">
                <a16:creationId xmlns:a16="http://schemas.microsoft.com/office/drawing/2014/main" id="{17A2142F-AF0B-5D60-B344-37EC71260D8F}"/>
              </a:ext>
            </a:extLst>
          </p:cNvPr>
          <p:cNvSpPr txBox="1"/>
          <p:nvPr/>
        </p:nvSpPr>
        <p:spPr>
          <a:xfrm>
            <a:off x="9510418" y="4928728"/>
            <a:ext cx="2290144" cy="4462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rgbClr val="000000"/>
                </a:solidFill>
                <a:latin typeface="Poppins" panose="00000500000000000000" pitchFamily="2" charset="0"/>
                <a:cs typeface="Poppins" panose="00000500000000000000" pitchFamily="2" charset="0"/>
                <a:sym typeface="Arial"/>
              </a:rPr>
              <a:t>World Sustainability Organization S.r.l.</a:t>
            </a:r>
            <a:endParaRPr lang="en-CA" sz="1150" b="0" i="0" u="none" strike="noStrike" cap="none" dirty="0">
              <a:solidFill>
                <a:srgbClr val="000000"/>
              </a:solidFill>
              <a:latin typeface="Poppins" panose="00000500000000000000" pitchFamily="2" charset="0"/>
              <a:cs typeface="Poppins" panose="00000500000000000000" pitchFamily="2" charset="0"/>
              <a:sym typeface="Arial"/>
            </a:endParaRPr>
          </a:p>
        </p:txBody>
      </p:sp>
      <p:pic>
        <p:nvPicPr>
          <p:cNvPr id="12" name="Picture 11">
            <a:extLst>
              <a:ext uri="{FF2B5EF4-FFF2-40B4-BE49-F238E27FC236}">
                <a16:creationId xmlns:a16="http://schemas.microsoft.com/office/drawing/2014/main" id="{C6A0CD39-BC80-C26E-BC92-ACAF991C2459}"/>
              </a:ext>
            </a:extLst>
          </p:cNvPr>
          <p:cNvPicPr>
            <a:picLocks noChangeAspect="1"/>
          </p:cNvPicPr>
          <p:nvPr/>
        </p:nvPicPr>
        <p:blipFill>
          <a:blip r:embed="rId10"/>
          <a:srcRect/>
          <a:stretch/>
        </p:blipFill>
        <p:spPr>
          <a:xfrm>
            <a:off x="7834480" y="3786429"/>
            <a:ext cx="1039600" cy="1039600"/>
          </a:xfrm>
          <a:prstGeom prst="rect">
            <a:avLst/>
          </a:prstGeom>
        </p:spPr>
      </p:pic>
      <p:pic>
        <p:nvPicPr>
          <p:cNvPr id="13" name="Picture 12">
            <a:extLst>
              <a:ext uri="{FF2B5EF4-FFF2-40B4-BE49-F238E27FC236}">
                <a16:creationId xmlns:a16="http://schemas.microsoft.com/office/drawing/2014/main" id="{A59378DA-2254-5D19-BE27-A5800EB22E93}"/>
              </a:ext>
            </a:extLst>
          </p:cNvPr>
          <p:cNvPicPr>
            <a:picLocks noChangeAspect="1"/>
          </p:cNvPicPr>
          <p:nvPr/>
        </p:nvPicPr>
        <p:blipFill>
          <a:blip r:embed="rId11"/>
          <a:srcRect/>
          <a:stretch/>
        </p:blipFill>
        <p:spPr>
          <a:xfrm>
            <a:off x="10002453" y="3985852"/>
            <a:ext cx="1317609" cy="659268"/>
          </a:xfrm>
          <a:prstGeom prst="rect">
            <a:avLst/>
          </a:prstGeom>
        </p:spPr>
      </p:pic>
    </p:spTree>
    <p:extLst>
      <p:ext uri="{BB962C8B-B14F-4D97-AF65-F5344CB8AC3E}">
        <p14:creationId xmlns:p14="http://schemas.microsoft.com/office/powerpoint/2010/main" val="2586146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692"/>
        <p:cNvGrpSpPr/>
        <p:nvPr/>
      </p:nvGrpSpPr>
      <p:grpSpPr>
        <a:xfrm>
          <a:off x="0" y="0"/>
          <a:ext cx="0" cy="0"/>
          <a:chOff x="0" y="0"/>
          <a:chExt cx="0" cy="0"/>
        </a:xfrm>
      </p:grpSpPr>
      <p:sp>
        <p:nvSpPr>
          <p:cNvPr id="1693" name="Google Shape;1693;p35"/>
          <p:cNvSpPr txBox="1"/>
          <p:nvPr/>
        </p:nvSpPr>
        <p:spPr>
          <a:xfrm>
            <a:off x="647114" y="2010637"/>
            <a:ext cx="3152896" cy="830997"/>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decisions and agreements reached during meetings are recorded in either Minutes or for the Annual Meetings as Resolutions. </a:t>
            </a:r>
            <a:endParaRPr sz="1400" b="0" i="0" u="none" strike="noStrike" cap="none">
              <a:solidFill>
                <a:srgbClr val="000000"/>
              </a:solidFill>
              <a:latin typeface="Arial"/>
              <a:ea typeface="Arial"/>
              <a:cs typeface="Arial"/>
              <a:sym typeface="Arial"/>
            </a:endParaRPr>
          </a:p>
        </p:txBody>
      </p:sp>
      <p:sp>
        <p:nvSpPr>
          <p:cNvPr id="1694" name="Google Shape;1694;p35"/>
          <p:cNvSpPr txBox="1"/>
          <p:nvPr/>
        </p:nvSpPr>
        <p:spPr>
          <a:xfrm>
            <a:off x="8301877" y="4422409"/>
            <a:ext cx="3509122"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hen discussing issues and documents, the goal is a consensus approach, but, at times, formal voting is required. </a:t>
            </a:r>
            <a:endParaRPr sz="1400" b="0" i="0" u="none" strike="noStrike" cap="none">
              <a:solidFill>
                <a:srgbClr val="000000"/>
              </a:solidFill>
              <a:latin typeface="Arial"/>
              <a:ea typeface="Arial"/>
              <a:cs typeface="Arial"/>
              <a:sym typeface="Arial"/>
            </a:endParaRPr>
          </a:p>
        </p:txBody>
      </p:sp>
      <p:sp>
        <p:nvSpPr>
          <p:cNvPr id="1695" name="Google Shape;1695;p35"/>
          <p:cNvSpPr txBox="1"/>
          <p:nvPr/>
        </p:nvSpPr>
        <p:spPr>
          <a:xfrm>
            <a:off x="381000" y="4417103"/>
            <a:ext cx="3419010" cy="461665"/>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oting may be in person at meetings or by letter-ballot. </a:t>
            </a:r>
            <a:endParaRPr sz="1400" b="0" i="0" u="none" strike="noStrike" cap="none">
              <a:solidFill>
                <a:srgbClr val="000000"/>
              </a:solidFill>
              <a:latin typeface="Arial"/>
              <a:ea typeface="Arial"/>
              <a:cs typeface="Arial"/>
              <a:sym typeface="Arial"/>
            </a:endParaRPr>
          </a:p>
        </p:txBody>
      </p:sp>
      <p:sp>
        <p:nvSpPr>
          <p:cNvPr id="1696" name="Google Shape;1696;p35"/>
          <p:cNvSpPr txBox="1"/>
          <p:nvPr/>
        </p:nvSpPr>
        <p:spPr>
          <a:xfrm>
            <a:off x="8301876" y="2010637"/>
            <a:ext cx="3509123"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Committees, Subcommittees, Working Groups, and Task Forces typically meet once or twice a year, in conjunction with the Mid-Term Meetings of IAF and ILAC and the Annual meetings. </a:t>
            </a:r>
            <a:endParaRPr sz="1400" b="0" i="0" u="none" strike="noStrike" cap="none">
              <a:solidFill>
                <a:srgbClr val="000000"/>
              </a:solidFill>
              <a:latin typeface="Arial"/>
              <a:ea typeface="Arial"/>
              <a:cs typeface="Arial"/>
              <a:sym typeface="Arial"/>
            </a:endParaRPr>
          </a:p>
        </p:txBody>
      </p:sp>
      <p:sp>
        <p:nvSpPr>
          <p:cNvPr id="1697" name="Google Shape;1697;p35"/>
          <p:cNvSpPr/>
          <p:nvPr/>
        </p:nvSpPr>
        <p:spPr>
          <a:xfrm rot="-1749335">
            <a:off x="3674535" y="2504460"/>
            <a:ext cx="2051340" cy="2053555"/>
          </a:xfrm>
          <a:custGeom>
            <a:avLst/>
            <a:gdLst/>
            <a:ahLst/>
            <a:cxnLst/>
            <a:rect l="l" t="t" r="r" b="b"/>
            <a:pathLst>
              <a:path w="2237582" h="2239871" extrusionOk="0">
                <a:moveTo>
                  <a:pt x="2237582" y="0"/>
                </a:moveTo>
                <a:lnTo>
                  <a:pt x="2237582" y="931290"/>
                </a:lnTo>
                <a:lnTo>
                  <a:pt x="2237578" y="931290"/>
                </a:lnTo>
                <a:cubicBezTo>
                  <a:pt x="1516136" y="931290"/>
                  <a:pt x="931292" y="1516134"/>
                  <a:pt x="931292" y="2237576"/>
                </a:cubicBezTo>
                <a:lnTo>
                  <a:pt x="931360" y="2238918"/>
                </a:lnTo>
                <a:lnTo>
                  <a:pt x="1" y="2239871"/>
                </a:lnTo>
                <a:cubicBezTo>
                  <a:pt x="-607" y="1646031"/>
                  <a:pt x="234869" y="1076305"/>
                  <a:pt x="654563" y="656182"/>
                </a:cubicBezTo>
                <a:cubicBezTo>
                  <a:pt x="1074257" y="236059"/>
                  <a:pt x="1643741" y="0"/>
                  <a:pt x="2237582" y="0"/>
                </a:cubicBezTo>
                <a:close/>
              </a:path>
            </a:pathLst>
          </a:custGeom>
          <a:solidFill>
            <a:schemeClr val="accent2"/>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698" name="Google Shape;1698;p35"/>
          <p:cNvSpPr txBox="1"/>
          <p:nvPr/>
        </p:nvSpPr>
        <p:spPr>
          <a:xfrm>
            <a:off x="4239218" y="2880380"/>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1699" name="Google Shape;1699;p35"/>
          <p:cNvSpPr/>
          <p:nvPr/>
        </p:nvSpPr>
        <p:spPr>
          <a:xfrm rot="-7149335">
            <a:off x="4674285" y="4294632"/>
            <a:ext cx="2051457" cy="2053439"/>
          </a:xfrm>
          <a:custGeom>
            <a:avLst/>
            <a:gdLst/>
            <a:ahLst/>
            <a:cxnLst/>
            <a:rect l="l" t="t" r="r" b="b"/>
            <a:pathLst>
              <a:path w="2237582" h="2239871" extrusionOk="0">
                <a:moveTo>
                  <a:pt x="2237582" y="0"/>
                </a:moveTo>
                <a:lnTo>
                  <a:pt x="2237582" y="931294"/>
                </a:lnTo>
                <a:lnTo>
                  <a:pt x="2104024" y="938038"/>
                </a:lnTo>
                <a:cubicBezTo>
                  <a:pt x="1445321" y="1004933"/>
                  <a:pt x="931298" y="1561228"/>
                  <a:pt x="931298" y="2237580"/>
                </a:cubicBezTo>
                <a:lnTo>
                  <a:pt x="931366" y="2238918"/>
                </a:lnTo>
                <a:lnTo>
                  <a:pt x="1" y="2239871"/>
                </a:lnTo>
                <a:cubicBezTo>
                  <a:pt x="-607" y="1646031"/>
                  <a:pt x="234869" y="1076305"/>
                  <a:pt x="654563" y="656182"/>
                </a:cubicBezTo>
                <a:cubicBezTo>
                  <a:pt x="1074257" y="236059"/>
                  <a:pt x="1643741" y="0"/>
                  <a:pt x="2237582" y="0"/>
                </a:cubicBezTo>
                <a:close/>
              </a:path>
            </a:pathLst>
          </a:custGeom>
          <a:solidFill>
            <a:schemeClr val="accent1"/>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0" name="Google Shape;1700;p35"/>
          <p:cNvSpPr txBox="1"/>
          <p:nvPr/>
        </p:nvSpPr>
        <p:spPr>
          <a:xfrm>
            <a:off x="4965335" y="5215779"/>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1701" name="Google Shape;1701;p35"/>
          <p:cNvSpPr/>
          <p:nvPr/>
        </p:nvSpPr>
        <p:spPr>
          <a:xfrm rot="-1749335" flipH="1">
            <a:off x="5465958" y="1505055"/>
            <a:ext cx="2051340" cy="2053555"/>
          </a:xfrm>
          <a:custGeom>
            <a:avLst/>
            <a:gdLst/>
            <a:ahLst/>
            <a:cxnLst/>
            <a:rect l="l" t="t" r="r" b="b"/>
            <a:pathLst>
              <a:path w="2237582" h="2239871" extrusionOk="0">
                <a:moveTo>
                  <a:pt x="2237582" y="0"/>
                </a:moveTo>
                <a:cubicBezTo>
                  <a:pt x="1643741" y="0"/>
                  <a:pt x="1074257" y="236059"/>
                  <a:pt x="654563" y="656182"/>
                </a:cubicBezTo>
                <a:cubicBezTo>
                  <a:pt x="234869" y="1076305"/>
                  <a:pt x="-607" y="1646031"/>
                  <a:pt x="1" y="2239871"/>
                </a:cubicBezTo>
                <a:lnTo>
                  <a:pt x="931364" y="2238918"/>
                </a:lnTo>
                <a:lnTo>
                  <a:pt x="931296" y="2237579"/>
                </a:lnTo>
                <a:cubicBezTo>
                  <a:pt x="931296" y="1561227"/>
                  <a:pt x="1445319" y="1004932"/>
                  <a:pt x="2104022" y="938037"/>
                </a:cubicBezTo>
                <a:lnTo>
                  <a:pt x="2237582" y="931293"/>
                </a:lnTo>
                <a:lnTo>
                  <a:pt x="2237582" y="0"/>
                </a:lnTo>
                <a:close/>
              </a:path>
            </a:pathLst>
          </a:custGeom>
          <a:solidFill>
            <a:schemeClr val="accent1"/>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2" name="Google Shape;1702;p35"/>
          <p:cNvSpPr txBox="1"/>
          <p:nvPr/>
        </p:nvSpPr>
        <p:spPr>
          <a:xfrm>
            <a:off x="6422282" y="2144457"/>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sp>
        <p:nvSpPr>
          <p:cNvPr id="1703" name="Google Shape;1703;p35"/>
          <p:cNvSpPr/>
          <p:nvPr/>
        </p:nvSpPr>
        <p:spPr>
          <a:xfrm rot="3650665" flipH="1">
            <a:off x="6463879" y="3296249"/>
            <a:ext cx="2051457" cy="2053439"/>
          </a:xfrm>
          <a:custGeom>
            <a:avLst/>
            <a:gdLst/>
            <a:ahLst/>
            <a:cxnLst/>
            <a:rect l="l" t="t" r="r" b="b"/>
            <a:pathLst>
              <a:path w="2237582" h="2239871" extrusionOk="0">
                <a:moveTo>
                  <a:pt x="2237582" y="0"/>
                </a:moveTo>
                <a:cubicBezTo>
                  <a:pt x="1643741" y="0"/>
                  <a:pt x="1074257" y="236059"/>
                  <a:pt x="654563" y="656182"/>
                </a:cubicBezTo>
                <a:cubicBezTo>
                  <a:pt x="234869" y="1076305"/>
                  <a:pt x="-607" y="1646031"/>
                  <a:pt x="1" y="2239871"/>
                </a:cubicBezTo>
                <a:lnTo>
                  <a:pt x="931363" y="2238918"/>
                </a:lnTo>
                <a:lnTo>
                  <a:pt x="931295" y="2237582"/>
                </a:lnTo>
                <a:cubicBezTo>
                  <a:pt x="931295" y="1516140"/>
                  <a:pt x="1516139" y="931296"/>
                  <a:pt x="2237581" y="931296"/>
                </a:cubicBezTo>
                <a:lnTo>
                  <a:pt x="2237582" y="0"/>
                </a:lnTo>
                <a:close/>
              </a:path>
            </a:pathLst>
          </a:custGeom>
          <a:solidFill>
            <a:schemeClr val="accent2"/>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4" name="Google Shape;1704;p35"/>
          <p:cNvSpPr/>
          <p:nvPr/>
        </p:nvSpPr>
        <p:spPr>
          <a:xfrm rot="-1749335">
            <a:off x="5676822" y="2318517"/>
            <a:ext cx="1365987" cy="1362390"/>
          </a:xfrm>
          <a:custGeom>
            <a:avLst/>
            <a:gdLst/>
            <a:ahLst/>
            <a:cxnLst/>
            <a:rect l="l" t="t" r="r" b="b"/>
            <a:pathLst>
              <a:path w="1490005" h="1485997" extrusionOk="0">
                <a:moveTo>
                  <a:pt x="4989" y="0"/>
                </a:moveTo>
                <a:cubicBezTo>
                  <a:pt x="825141" y="0"/>
                  <a:pt x="1490005" y="664864"/>
                  <a:pt x="1490005" y="1485016"/>
                </a:cubicBezTo>
                <a:lnTo>
                  <a:pt x="1489956" y="1485997"/>
                </a:lnTo>
                <a:lnTo>
                  <a:pt x="1306218" y="1485809"/>
                </a:lnTo>
                <a:lnTo>
                  <a:pt x="1306286" y="1484470"/>
                </a:lnTo>
                <a:cubicBezTo>
                  <a:pt x="1306286" y="808118"/>
                  <a:pt x="792263" y="251823"/>
                  <a:pt x="133560" y="184928"/>
                </a:cubicBezTo>
                <a:lnTo>
                  <a:pt x="0" y="178184"/>
                </a:lnTo>
                <a:lnTo>
                  <a:pt x="0" y="252"/>
                </a:lnTo>
                <a:lnTo>
                  <a:pt x="4989" y="0"/>
                </a:ln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5" name="Google Shape;1705;p35"/>
          <p:cNvSpPr/>
          <p:nvPr/>
        </p:nvSpPr>
        <p:spPr>
          <a:xfrm rot="-1749335">
            <a:off x="6337996" y="3508706"/>
            <a:ext cx="1356402" cy="1359130"/>
          </a:xfrm>
          <a:custGeom>
            <a:avLst/>
            <a:gdLst/>
            <a:ahLst/>
            <a:cxnLst/>
            <a:rect l="l" t="t" r="r" b="b"/>
            <a:pathLst>
              <a:path w="1479550" h="1482442" extrusionOk="0">
                <a:moveTo>
                  <a:pt x="1479550" y="0"/>
                </a:moveTo>
                <a:lnTo>
                  <a:pt x="1471999" y="149530"/>
                </a:lnTo>
                <a:cubicBezTo>
                  <a:pt x="1401021" y="848437"/>
                  <a:pt x="845391" y="1404067"/>
                  <a:pt x="146485" y="1475045"/>
                </a:cubicBezTo>
                <a:lnTo>
                  <a:pt x="0" y="1482442"/>
                </a:lnTo>
                <a:lnTo>
                  <a:pt x="181" y="1306219"/>
                </a:lnTo>
                <a:lnTo>
                  <a:pt x="1517" y="1306287"/>
                </a:lnTo>
                <a:cubicBezTo>
                  <a:pt x="722959" y="1306287"/>
                  <a:pt x="1307803" y="721443"/>
                  <a:pt x="1307803" y="1"/>
                </a:cubicBezTo>
                <a:lnTo>
                  <a:pt x="1479550" y="0"/>
                </a:ln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6" name="Google Shape;1706;p35"/>
          <p:cNvSpPr/>
          <p:nvPr/>
        </p:nvSpPr>
        <p:spPr>
          <a:xfrm rot="-1749335">
            <a:off x="5157940" y="4168036"/>
            <a:ext cx="1358987" cy="1366131"/>
          </a:xfrm>
          <a:custGeom>
            <a:avLst/>
            <a:gdLst/>
            <a:ahLst/>
            <a:cxnLst/>
            <a:rect l="l" t="t" r="r" b="b"/>
            <a:pathLst>
              <a:path w="1482370" h="1490078" extrusionOk="0">
                <a:moveTo>
                  <a:pt x="263" y="0"/>
                </a:moveTo>
                <a:lnTo>
                  <a:pt x="174558" y="0"/>
                </a:lnTo>
                <a:lnTo>
                  <a:pt x="181302" y="133558"/>
                </a:lnTo>
                <a:cubicBezTo>
                  <a:pt x="248197" y="792261"/>
                  <a:pt x="804492" y="1306284"/>
                  <a:pt x="1480844" y="1306284"/>
                </a:cubicBezTo>
                <a:lnTo>
                  <a:pt x="1482182" y="1306216"/>
                </a:lnTo>
                <a:lnTo>
                  <a:pt x="1482370" y="1490078"/>
                </a:lnTo>
                <a:lnTo>
                  <a:pt x="1333182" y="1482544"/>
                </a:lnTo>
                <a:cubicBezTo>
                  <a:pt x="584353" y="1406497"/>
                  <a:pt x="0" y="774088"/>
                  <a:pt x="0" y="5195"/>
                </a:cubicBezTo>
                <a:lnTo>
                  <a:pt x="263" y="0"/>
                </a:ln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7" name="Google Shape;1707;p35"/>
          <p:cNvSpPr/>
          <p:nvPr/>
        </p:nvSpPr>
        <p:spPr>
          <a:xfrm rot="-1749335">
            <a:off x="4488144" y="2983876"/>
            <a:ext cx="1363774" cy="1359185"/>
          </a:xfrm>
          <a:custGeom>
            <a:avLst/>
            <a:gdLst/>
            <a:ahLst/>
            <a:cxnLst/>
            <a:rect l="l" t="t" r="r" b="b"/>
            <a:pathLst>
              <a:path w="1487591" h="1482502" extrusionOk="0">
                <a:moveTo>
                  <a:pt x="1484889" y="0"/>
                </a:moveTo>
                <a:lnTo>
                  <a:pt x="1487591" y="137"/>
                </a:lnTo>
                <a:lnTo>
                  <a:pt x="1487591" y="174688"/>
                </a:lnTo>
                <a:lnTo>
                  <a:pt x="1487587" y="174688"/>
                </a:lnTo>
                <a:cubicBezTo>
                  <a:pt x="766145" y="174688"/>
                  <a:pt x="181301" y="759532"/>
                  <a:pt x="181301" y="1480974"/>
                </a:cubicBezTo>
                <a:lnTo>
                  <a:pt x="181369" y="1482316"/>
                </a:lnTo>
                <a:lnTo>
                  <a:pt x="0" y="1482502"/>
                </a:lnTo>
                <a:lnTo>
                  <a:pt x="7540" y="1333182"/>
                </a:lnTo>
                <a:cubicBezTo>
                  <a:pt x="83588" y="584353"/>
                  <a:pt x="715997" y="0"/>
                  <a:pt x="1484889" y="0"/>
                </a:cubicBez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8" name="Google Shape;1708;p35"/>
          <p:cNvSpPr/>
          <p:nvPr/>
        </p:nvSpPr>
        <p:spPr>
          <a:xfrm rot="-3452215">
            <a:off x="4397104" y="1929732"/>
            <a:ext cx="1279397" cy="1228612"/>
          </a:xfrm>
          <a:prstGeom prst="chevron">
            <a:avLst>
              <a:gd name="adj" fmla="val 57007"/>
            </a:avLst>
          </a:prstGeom>
          <a:solidFill>
            <a:schemeClr val="accent2"/>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709" name="Google Shape;1709;p35"/>
          <p:cNvSpPr/>
          <p:nvPr/>
        </p:nvSpPr>
        <p:spPr>
          <a:xfrm rot="2231672">
            <a:off x="6901848" y="2325015"/>
            <a:ext cx="1279469" cy="1228542"/>
          </a:xfrm>
          <a:prstGeom prst="chevron">
            <a:avLst>
              <a:gd name="adj" fmla="val 57007"/>
            </a:avLst>
          </a:prstGeom>
          <a:solidFill>
            <a:schemeClr val="accent1"/>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710" name="Google Shape;1710;p35"/>
          <p:cNvSpPr/>
          <p:nvPr/>
        </p:nvSpPr>
        <p:spPr>
          <a:xfrm rot="7666194">
            <a:off x="6371264" y="4788027"/>
            <a:ext cx="1279397" cy="1228612"/>
          </a:xfrm>
          <a:prstGeom prst="chevron">
            <a:avLst>
              <a:gd name="adj" fmla="val 57007"/>
            </a:avLst>
          </a:prstGeom>
          <a:solidFill>
            <a:schemeClr val="accent2"/>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711" name="Google Shape;1711;p35"/>
          <p:cNvSpPr/>
          <p:nvPr/>
        </p:nvSpPr>
        <p:spPr>
          <a:xfrm rot="-8724328">
            <a:off x="4014875" y="4264657"/>
            <a:ext cx="1279469" cy="1228542"/>
          </a:xfrm>
          <a:prstGeom prst="chevron">
            <a:avLst>
              <a:gd name="adj" fmla="val 57007"/>
            </a:avLst>
          </a:prstGeom>
          <a:solidFill>
            <a:schemeClr val="accent1"/>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pic>
        <p:nvPicPr>
          <p:cNvPr id="1712" name="Google Shape;1712;p35"/>
          <p:cNvPicPr preferRelativeResize="0"/>
          <p:nvPr/>
        </p:nvPicPr>
        <p:blipFill rotWithShape="1">
          <a:blip r:embed="rId3">
            <a:alphaModFix/>
          </a:blip>
          <a:srcRect/>
          <a:stretch/>
        </p:blipFill>
        <p:spPr>
          <a:xfrm>
            <a:off x="5428048" y="3317411"/>
            <a:ext cx="1335904" cy="1217312"/>
          </a:xfrm>
          <a:prstGeom prst="rect">
            <a:avLst/>
          </a:prstGeom>
          <a:noFill/>
          <a:ln>
            <a:noFill/>
          </a:ln>
        </p:spPr>
      </p:pic>
      <p:sp>
        <p:nvSpPr>
          <p:cNvPr id="1713" name="Google Shape;1713;p35"/>
          <p:cNvSpPr txBox="1"/>
          <p:nvPr/>
        </p:nvSpPr>
        <p:spPr>
          <a:xfrm>
            <a:off x="2358685" y="487817"/>
            <a:ext cx="7474632"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HOW DO THE COMMITTEES WORK?</a:t>
            </a:r>
            <a:endParaRPr sz="1400" b="0" i="0" u="none" strike="noStrike" cap="none">
              <a:solidFill>
                <a:srgbClr val="000000"/>
              </a:solidFill>
              <a:latin typeface="Arial"/>
              <a:ea typeface="Arial"/>
              <a:cs typeface="Arial"/>
              <a:sym typeface="Arial"/>
            </a:endParaRPr>
          </a:p>
        </p:txBody>
      </p:sp>
      <p:cxnSp>
        <p:nvCxnSpPr>
          <p:cNvPr id="1714" name="Google Shape;1714;p35"/>
          <p:cNvCxnSpPr/>
          <p:nvPr/>
        </p:nvCxnSpPr>
        <p:spPr>
          <a:xfrm>
            <a:off x="5529618" y="108137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15" name="Google Shape;1715;p35"/>
          <p:cNvSpPr txBox="1"/>
          <p:nvPr/>
        </p:nvSpPr>
        <p:spPr>
          <a:xfrm>
            <a:off x="7293295" y="4446736"/>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720"/>
        <p:cNvGrpSpPr/>
        <p:nvPr/>
      </p:nvGrpSpPr>
      <p:grpSpPr>
        <a:xfrm>
          <a:off x="0" y="0"/>
          <a:ext cx="0" cy="0"/>
          <a:chOff x="0" y="0"/>
          <a:chExt cx="0" cy="0"/>
        </a:xfrm>
      </p:grpSpPr>
      <p:sp>
        <p:nvSpPr>
          <p:cNvPr id="1721" name="Google Shape;1721;p36"/>
          <p:cNvSpPr/>
          <p:nvPr/>
        </p:nvSpPr>
        <p:spPr>
          <a:xfrm>
            <a:off x="6215311" y="0"/>
            <a:ext cx="5670466" cy="6858000"/>
          </a:xfrm>
          <a:custGeom>
            <a:avLst/>
            <a:gdLst/>
            <a:ahLst/>
            <a:cxnLst/>
            <a:rect l="l" t="t" r="r" b="b"/>
            <a:pathLst>
              <a:path w="5670466" h="6858000" extrusionOk="0">
                <a:moveTo>
                  <a:pt x="50180" y="0"/>
                </a:moveTo>
                <a:lnTo>
                  <a:pt x="5670466" y="0"/>
                </a:lnTo>
                <a:lnTo>
                  <a:pt x="5670466" y="6858000"/>
                </a:lnTo>
                <a:lnTo>
                  <a:pt x="0" y="6858000"/>
                </a:lnTo>
                <a:lnTo>
                  <a:pt x="27855" y="6757729"/>
                </a:lnTo>
                <a:cubicBezTo>
                  <a:pt x="204406" y="6153140"/>
                  <a:pt x="421916" y="5559574"/>
                  <a:pt x="554195" y="4941314"/>
                </a:cubicBezTo>
                <a:cubicBezTo>
                  <a:pt x="898848" y="3310284"/>
                  <a:pt x="610101" y="1608430"/>
                  <a:pt x="59940" y="27075"/>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22" name="Google Shape;1722;p36"/>
          <p:cNvSpPr txBox="1"/>
          <p:nvPr/>
        </p:nvSpPr>
        <p:spPr>
          <a:xfrm>
            <a:off x="381001" y="436003"/>
            <a:ext cx="5715000"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WHAT ARE MY OBLIGATIONS AS AN AB?</a:t>
            </a:r>
            <a:endParaRPr sz="3200" b="1" i="0" u="none" strike="noStrike" cap="none">
              <a:solidFill>
                <a:schemeClr val="accent1"/>
              </a:solidFill>
              <a:latin typeface="Montserrat"/>
              <a:ea typeface="Montserrat"/>
              <a:cs typeface="Montserrat"/>
              <a:sym typeface="Montserrat"/>
            </a:endParaRPr>
          </a:p>
        </p:txBody>
      </p:sp>
      <p:cxnSp>
        <p:nvCxnSpPr>
          <p:cNvPr id="1723" name="Google Shape;1723;p36"/>
          <p:cNvCxnSpPr/>
          <p:nvPr/>
        </p:nvCxnSpPr>
        <p:spPr>
          <a:xfrm>
            <a:off x="499425" y="149900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24" name="Google Shape;1724;p36"/>
          <p:cNvSpPr>
            <a:spLocks noGrp="1"/>
          </p:cNvSpPr>
          <p:nvPr>
            <p:ph type="pic" idx="2"/>
          </p:nvPr>
        </p:nvSpPr>
        <p:spPr>
          <a:xfrm>
            <a:off x="6521534" y="0"/>
            <a:ext cx="5670466" cy="6858000"/>
          </a:xfrm>
          <a:prstGeom prst="rect">
            <a:avLst/>
          </a:prstGeom>
          <a:noFill/>
          <a:ln>
            <a:noFill/>
          </a:ln>
        </p:spPr>
        <p:txBody>
          <a:bodyPr/>
          <a:lstStyle/>
          <a:p>
            <a:endParaRPr lang="en-CA"/>
          </a:p>
        </p:txBody>
      </p:sp>
      <p:sp>
        <p:nvSpPr>
          <p:cNvPr id="1725" name="Google Shape;1725;p36"/>
          <p:cNvSpPr/>
          <p:nvPr/>
        </p:nvSpPr>
        <p:spPr>
          <a:xfrm>
            <a:off x="306223" y="1693656"/>
            <a:ext cx="7285201" cy="3769972"/>
          </a:xfrm>
          <a:prstGeom prst="roundRect">
            <a:avLst>
              <a:gd name="adj" fmla="val 5846"/>
            </a:avLst>
          </a:prstGeom>
          <a:solidFill>
            <a:schemeClr val="lt1"/>
          </a:solidFill>
          <a:ln>
            <a:noFill/>
          </a:ln>
          <a:effectLst>
            <a:outerShdw blurRad="63500"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26" name="Google Shape;1726;p36"/>
          <p:cNvSpPr txBox="1"/>
          <p:nvPr/>
        </p:nvSpPr>
        <p:spPr>
          <a:xfrm>
            <a:off x="395998" y="4509521"/>
            <a:ext cx="7105650"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Promoting the MRA / MLA</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ll members are obliged to support the acceptance of the Arrangement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Poppins"/>
              <a:ea typeface="Poppins"/>
              <a:cs typeface="Poppins"/>
              <a:sym typeface="Poppins"/>
            </a:endParaRPr>
          </a:p>
        </p:txBody>
      </p:sp>
      <p:sp>
        <p:nvSpPr>
          <p:cNvPr id="1727" name="Google Shape;1727;p36"/>
          <p:cNvSpPr txBox="1"/>
          <p:nvPr/>
        </p:nvSpPr>
        <p:spPr>
          <a:xfrm>
            <a:off x="391734" y="1852658"/>
            <a:ext cx="5670466" cy="246221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Participating in Annual Meetings and Committees</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ll members are able and encouraged to join, participate and contribute to the work of ILAC and IAF. This can be done by attending meetings or by email correspondence.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Task Forces are generally set up to complete a particular task and are disbanded on completion.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Working Groups are generally discussion groups in a particular area.</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ctive participation and contribution to the work of IAF and ILAC in the Mid-Term and Annual Meeting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732"/>
        <p:cNvGrpSpPr/>
        <p:nvPr/>
      </p:nvGrpSpPr>
      <p:grpSpPr>
        <a:xfrm>
          <a:off x="0" y="0"/>
          <a:ext cx="0" cy="0"/>
          <a:chOff x="0" y="0"/>
          <a:chExt cx="0" cy="0"/>
        </a:xfrm>
      </p:grpSpPr>
      <p:sp>
        <p:nvSpPr>
          <p:cNvPr id="1733" name="Google Shape;1733;p37"/>
          <p:cNvSpPr txBox="1"/>
          <p:nvPr/>
        </p:nvSpPr>
        <p:spPr>
          <a:xfrm>
            <a:off x="6141586" y="743568"/>
            <a:ext cx="5715000"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What are my Obligations as an AB? </a:t>
            </a:r>
            <a:r>
              <a:rPr lang="en-US" sz="1400" b="1" i="0" u="none" strike="noStrike" cap="none">
                <a:solidFill>
                  <a:schemeClr val="dk1"/>
                </a:solidFill>
                <a:latin typeface="Montserrat"/>
                <a:ea typeface="Montserrat"/>
                <a:cs typeface="Montserrat"/>
                <a:sym typeface="Montserrat"/>
              </a:rPr>
              <a:t>(Continued)</a:t>
            </a:r>
            <a:endParaRPr sz="3200" b="1" i="0" u="none" strike="noStrike" cap="none">
              <a:solidFill>
                <a:schemeClr val="accent1"/>
              </a:solidFill>
              <a:latin typeface="Montserrat"/>
              <a:ea typeface="Montserrat"/>
              <a:cs typeface="Montserrat"/>
              <a:sym typeface="Montserrat"/>
            </a:endParaRPr>
          </a:p>
        </p:txBody>
      </p:sp>
      <p:sp>
        <p:nvSpPr>
          <p:cNvPr id="1734" name="Google Shape;1734;p37"/>
          <p:cNvSpPr txBox="1"/>
          <p:nvPr/>
        </p:nvSpPr>
        <p:spPr>
          <a:xfrm>
            <a:off x="6141586" y="1915464"/>
            <a:ext cx="5647145" cy="267765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Voting</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1"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Voting may be conducted at the meetings, or by email, or electronically.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LAC and IAF members have an obligation to vote in a timely manner for documents that are circulated for letter-ballot.</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You will receive a notification of each ballot and deadlines by email and in most cases will be required to vote online, on the Members side of the websites.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Failure to submit the required number of ballots within a 12-month period may lead to sanctions. </a:t>
            </a:r>
            <a:endParaRPr sz="1400" b="0" i="0" u="none" strike="noStrike" cap="none">
              <a:solidFill>
                <a:srgbClr val="000000"/>
              </a:solidFill>
              <a:latin typeface="Arial"/>
              <a:ea typeface="Arial"/>
              <a:cs typeface="Arial"/>
              <a:sym typeface="Arial"/>
            </a:endParaRPr>
          </a:p>
        </p:txBody>
      </p:sp>
      <p:cxnSp>
        <p:nvCxnSpPr>
          <p:cNvPr id="1735" name="Google Shape;1735;p37"/>
          <p:cNvCxnSpPr/>
          <p:nvPr/>
        </p:nvCxnSpPr>
        <p:spPr>
          <a:xfrm>
            <a:off x="6260010" y="180656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36" name="Google Shape;1736;p37"/>
          <p:cNvSpPr/>
          <p:nvPr/>
        </p:nvSpPr>
        <p:spPr>
          <a:xfrm flipH="1">
            <a:off x="261525" y="0"/>
            <a:ext cx="5670466" cy="6858000"/>
          </a:xfrm>
          <a:custGeom>
            <a:avLst/>
            <a:gdLst/>
            <a:ahLst/>
            <a:cxnLst/>
            <a:rect l="l" t="t" r="r" b="b"/>
            <a:pathLst>
              <a:path w="5670466" h="6858000" extrusionOk="0">
                <a:moveTo>
                  <a:pt x="50180" y="0"/>
                </a:moveTo>
                <a:lnTo>
                  <a:pt x="5670466" y="0"/>
                </a:lnTo>
                <a:lnTo>
                  <a:pt x="5670466" y="6858000"/>
                </a:lnTo>
                <a:lnTo>
                  <a:pt x="0" y="6858000"/>
                </a:lnTo>
                <a:lnTo>
                  <a:pt x="27855" y="6757729"/>
                </a:lnTo>
                <a:cubicBezTo>
                  <a:pt x="204406" y="6153140"/>
                  <a:pt x="421916" y="5559574"/>
                  <a:pt x="554195" y="4941314"/>
                </a:cubicBezTo>
                <a:cubicBezTo>
                  <a:pt x="898848" y="3310284"/>
                  <a:pt x="610101" y="1608430"/>
                  <a:pt x="59940" y="27075"/>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pic>
        <p:nvPicPr>
          <p:cNvPr id="1737" name="Google Shape;1737;p37"/>
          <p:cNvPicPr preferRelativeResize="0">
            <a:picLocks noGrp="1"/>
          </p:cNvPicPr>
          <p:nvPr>
            <p:ph type="pic" idx="2"/>
          </p:nvPr>
        </p:nvPicPr>
        <p:blipFill rotWithShape="1">
          <a:blip r:embed="rId3">
            <a:alphaModFix/>
          </a:blip>
          <a:srcRect l="22325" r="22325"/>
          <a:stretch/>
        </p:blipFill>
        <p:spPr>
          <a:xfrm flipH="1">
            <a:off x="1" y="0"/>
            <a:ext cx="5670466" cy="6858000"/>
          </a:xfrm>
          <a:prstGeom prst="rect">
            <a:avLst/>
          </a:prstGeom>
          <a:noFill/>
          <a:ln>
            <a:noFill/>
          </a:ln>
        </p:spPr>
      </p:pic>
      <p:sp>
        <p:nvSpPr>
          <p:cNvPr id="1738" name="Google Shape;1738;p37"/>
          <p:cNvSpPr txBox="1"/>
          <p:nvPr/>
        </p:nvSpPr>
        <p:spPr>
          <a:xfrm>
            <a:off x="6141586" y="4810909"/>
            <a:ext cx="5141538"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Peer evaluato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1"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LAC and IAF welcome volunteers to be trained as peer evaluators.  </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742"/>
        <p:cNvGrpSpPr/>
        <p:nvPr/>
      </p:nvGrpSpPr>
      <p:grpSpPr>
        <a:xfrm>
          <a:off x="0" y="0"/>
          <a:ext cx="0" cy="0"/>
          <a:chOff x="0" y="0"/>
          <a:chExt cx="0" cy="0"/>
        </a:xfrm>
      </p:grpSpPr>
      <p:sp>
        <p:nvSpPr>
          <p:cNvPr id="1743" name="Google Shape;1743;p38"/>
          <p:cNvSpPr/>
          <p:nvPr/>
        </p:nvSpPr>
        <p:spPr>
          <a:xfrm>
            <a:off x="6677812" y="611539"/>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44" name="Google Shape;1744;p38"/>
          <p:cNvSpPr txBox="1"/>
          <p:nvPr/>
        </p:nvSpPr>
        <p:spPr>
          <a:xfrm>
            <a:off x="381000" y="540327"/>
            <a:ext cx="6038849"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WORLD ACCREDITATION DAY</a:t>
            </a:r>
            <a:endParaRPr sz="3200" b="1" i="0" u="none" strike="noStrike" cap="none">
              <a:solidFill>
                <a:schemeClr val="accent1"/>
              </a:solidFill>
              <a:latin typeface="Montserrat"/>
              <a:ea typeface="Montserrat"/>
              <a:cs typeface="Montserrat"/>
              <a:sym typeface="Montserrat"/>
            </a:endParaRPr>
          </a:p>
        </p:txBody>
      </p:sp>
      <p:sp>
        <p:nvSpPr>
          <p:cNvPr id="1745" name="Google Shape;1745;p38"/>
          <p:cNvSpPr txBox="1"/>
          <p:nvPr/>
        </p:nvSpPr>
        <p:spPr>
          <a:xfrm>
            <a:off x="381002" y="1373882"/>
            <a:ext cx="5714998"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orld Accreditation Day takes place on 9th June each year. A theme is agreed by the Joint Executives, and materials are available from the ILAC and IAF websites to support promotion in your economy. Major conferences, events, workshops, and press campaigns take place in over 90 economies. </a:t>
            </a:r>
            <a:endParaRPr sz="1400" b="0" i="0" u="none" strike="noStrike" cap="none">
              <a:solidFill>
                <a:srgbClr val="000000"/>
              </a:solidFill>
              <a:latin typeface="Arial"/>
              <a:ea typeface="Arial"/>
              <a:cs typeface="Arial"/>
              <a:sym typeface="Arial"/>
            </a:endParaRPr>
          </a:p>
        </p:txBody>
      </p:sp>
      <p:cxnSp>
        <p:nvCxnSpPr>
          <p:cNvPr id="1746" name="Google Shape;1746;p38"/>
          <p:cNvCxnSpPr/>
          <p:nvPr/>
        </p:nvCxnSpPr>
        <p:spPr>
          <a:xfrm>
            <a:off x="499425" y="121871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47" name="Google Shape;1747;p38"/>
          <p:cNvSpPr/>
          <p:nvPr/>
        </p:nvSpPr>
        <p:spPr>
          <a:xfrm>
            <a:off x="499425" y="2698601"/>
            <a:ext cx="5172142" cy="3508236"/>
          </a:xfrm>
          <a:prstGeom prst="roundRect">
            <a:avLst>
              <a:gd name="adj" fmla="val 4599"/>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48" name="Google Shape;1748;p38"/>
          <p:cNvSpPr txBox="1"/>
          <p:nvPr/>
        </p:nvSpPr>
        <p:spPr>
          <a:xfrm>
            <a:off x="446894" y="2843709"/>
            <a:ext cx="5274494" cy="461624"/>
          </a:xfrm>
          <a:prstGeom prst="rect">
            <a:avLst/>
          </a:prstGeom>
          <a:noFill/>
          <a:ln>
            <a:noFill/>
          </a:ln>
        </p:spPr>
        <p:txBody>
          <a:bodyPr spcFirstLastPara="1" wrap="square" lIns="91425" tIns="45700" rIns="91425" bIns="45700" anchor="t" anchorCtr="0">
            <a:spAutoFit/>
          </a:bodyPr>
          <a:lstStyle/>
          <a:p>
            <a:pPr algn="ctr">
              <a:buSzPts val="1200"/>
            </a:pPr>
            <a:r>
              <a:rPr lang="en-US" sz="1200" b="0" i="0" u="none" strike="noStrike" cap="none">
                <a:solidFill>
                  <a:schemeClr val="dk1"/>
                </a:solidFill>
                <a:latin typeface="Poppins"/>
                <a:ea typeface="Poppins"/>
                <a:cs typeface="Poppins"/>
                <a:sym typeface="Poppins"/>
              </a:rPr>
              <a:t>World Accr</a:t>
            </a:r>
            <a:r>
              <a:rPr lang="en-US" sz="1200" b="0" u="none" strike="noStrike" cap="none">
                <a:solidFill>
                  <a:schemeClr val="dk1"/>
                </a:solidFill>
                <a:latin typeface="Poppins"/>
                <a:ea typeface="Poppins"/>
                <a:cs typeface="Poppins"/>
                <a:sym typeface="Poppins"/>
              </a:rPr>
              <a:t>editation Day </a:t>
            </a:r>
            <a:r>
              <a:rPr lang="en-US" sz="1200">
                <a:solidFill>
                  <a:schemeClr val="dk1"/>
                </a:solidFill>
                <a:latin typeface="Poppins"/>
                <a:ea typeface="Poppins"/>
                <a:cs typeface="Poppins"/>
                <a:sym typeface="Poppins"/>
              </a:rPr>
              <a:t>2025</a:t>
            </a:r>
            <a:r>
              <a:rPr lang="en-US" sz="1200" b="0" u="none" strike="noStrike" cap="none">
                <a:solidFill>
                  <a:schemeClr val="dk1"/>
                </a:solidFill>
                <a:latin typeface="Poppins"/>
                <a:ea typeface="Poppins"/>
                <a:cs typeface="Poppins"/>
                <a:sym typeface="Poppins"/>
              </a:rPr>
              <a:t> (#</a:t>
            </a:r>
            <a:r>
              <a:rPr lang="en-US" sz="1200">
                <a:solidFill>
                  <a:schemeClr val="dk1"/>
                </a:solidFill>
                <a:latin typeface="Poppins"/>
                <a:ea typeface="Poppins"/>
                <a:cs typeface="Poppins"/>
                <a:sym typeface="Poppins"/>
              </a:rPr>
              <a:t>WAD2025</a:t>
            </a:r>
            <a:r>
              <a:rPr lang="en-US" sz="1200" b="0" u="none" strike="noStrike" cap="none">
                <a:solidFill>
                  <a:schemeClr val="dk1"/>
                </a:solidFill>
                <a:latin typeface="Poppins"/>
                <a:ea typeface="Poppins"/>
                <a:cs typeface="Poppins"/>
                <a:sym typeface="Poppins"/>
              </a:rPr>
              <a:t>) Accreditation:</a:t>
            </a:r>
            <a:r>
              <a:rPr lang="en-US" sz="1200">
                <a:solidFill>
                  <a:schemeClr val="dk1"/>
                </a:solidFill>
                <a:latin typeface="Poppins"/>
                <a:ea typeface="Poppins"/>
                <a:cs typeface="Poppins"/>
                <a:sym typeface="Poppins"/>
              </a:rPr>
              <a:t> Empowering Small and Medium Enterprises (SMEs)</a:t>
            </a:r>
            <a:endParaRPr sz="1400" b="0" u="none" strike="noStrike" cap="none">
              <a:solidFill>
                <a:schemeClr val="dk1"/>
              </a:solidFill>
              <a:latin typeface="Poppins"/>
              <a:ea typeface="Arial"/>
              <a:cs typeface="Arial"/>
              <a:sym typeface="Arial"/>
            </a:endParaRPr>
          </a:p>
        </p:txBody>
      </p:sp>
      <p:sp>
        <p:nvSpPr>
          <p:cNvPr id="1750" name="Google Shape;1750;p38"/>
          <p:cNvSpPr/>
          <p:nvPr/>
        </p:nvSpPr>
        <p:spPr>
          <a:xfrm>
            <a:off x="9391983" y="611539"/>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1" name="Google Shape;1751;p38"/>
          <p:cNvSpPr/>
          <p:nvPr/>
        </p:nvSpPr>
        <p:spPr>
          <a:xfrm>
            <a:off x="6677812" y="2559200"/>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2" name="Google Shape;1752;p38"/>
          <p:cNvSpPr/>
          <p:nvPr/>
        </p:nvSpPr>
        <p:spPr>
          <a:xfrm>
            <a:off x="9391983" y="2559200"/>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3" name="Google Shape;1753;p38"/>
          <p:cNvSpPr/>
          <p:nvPr/>
        </p:nvSpPr>
        <p:spPr>
          <a:xfrm>
            <a:off x="6677812" y="4506861"/>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4" name="Google Shape;1754;p38"/>
          <p:cNvSpPr/>
          <p:nvPr/>
        </p:nvSpPr>
        <p:spPr>
          <a:xfrm>
            <a:off x="9391983" y="4506861"/>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755" name="Google Shape;1755;p38"/>
          <p:cNvPicPr preferRelativeResize="0"/>
          <p:nvPr/>
        </p:nvPicPr>
        <p:blipFill rotWithShape="1">
          <a:blip r:embed="rId3">
            <a:alphaModFix/>
          </a:blip>
          <a:srcRect l="7756" t="6323" r="10280" b="6119"/>
          <a:stretch/>
        </p:blipFill>
        <p:spPr>
          <a:xfrm>
            <a:off x="7279124" y="4606154"/>
            <a:ext cx="1006345" cy="1526081"/>
          </a:xfrm>
          <a:prstGeom prst="rect">
            <a:avLst/>
          </a:prstGeom>
          <a:noFill/>
          <a:ln>
            <a:noFill/>
          </a:ln>
        </p:spPr>
      </p:pic>
      <p:pic>
        <p:nvPicPr>
          <p:cNvPr id="1756" name="Google Shape;1756;p38"/>
          <p:cNvPicPr preferRelativeResize="0"/>
          <p:nvPr/>
        </p:nvPicPr>
        <p:blipFill rotWithShape="1">
          <a:blip r:embed="rId4">
            <a:alphaModFix/>
          </a:blip>
          <a:srcRect l="8025" t="1547" r="7066" b="2928"/>
          <a:stretch/>
        </p:blipFill>
        <p:spPr>
          <a:xfrm>
            <a:off x="10060065" y="4606154"/>
            <a:ext cx="941444" cy="1497622"/>
          </a:xfrm>
          <a:prstGeom prst="rect">
            <a:avLst/>
          </a:prstGeom>
          <a:noFill/>
          <a:ln>
            <a:noFill/>
          </a:ln>
        </p:spPr>
      </p:pic>
      <p:pic>
        <p:nvPicPr>
          <p:cNvPr id="1760" name="Google Shape;1760;p38"/>
          <p:cNvPicPr preferRelativeResize="0"/>
          <p:nvPr/>
        </p:nvPicPr>
        <p:blipFill rotWithShape="1">
          <a:blip r:embed="rId5">
            <a:alphaModFix/>
          </a:blip>
          <a:srcRect/>
          <a:stretch/>
        </p:blipFill>
        <p:spPr>
          <a:xfrm>
            <a:off x="7241308" y="2657179"/>
            <a:ext cx="1081978" cy="1524920"/>
          </a:xfrm>
          <a:prstGeom prst="rect">
            <a:avLst/>
          </a:prstGeom>
          <a:noFill/>
          <a:ln>
            <a:noFill/>
          </a:ln>
        </p:spPr>
      </p:pic>
      <p:pic>
        <p:nvPicPr>
          <p:cNvPr id="1749" name="Google Shape;1749;p38" descr="A picture containing logo&#10;&#10;Description automatically generated"/>
          <p:cNvPicPr preferRelativeResize="0"/>
          <p:nvPr/>
        </p:nvPicPr>
        <p:blipFill rotWithShape="1">
          <a:blip r:embed="rId6">
            <a:alphaModFix/>
          </a:blip>
          <a:srcRect l="9685" t="4856" r="10425" b="1476"/>
          <a:stretch/>
        </p:blipFill>
        <p:spPr>
          <a:xfrm>
            <a:off x="10048428" y="2675901"/>
            <a:ext cx="920950" cy="1506198"/>
          </a:xfrm>
          <a:prstGeom prst="rect">
            <a:avLst/>
          </a:prstGeom>
          <a:noFill/>
          <a:ln>
            <a:noFill/>
          </a:ln>
        </p:spPr>
      </p:pic>
      <p:pic>
        <p:nvPicPr>
          <p:cNvPr id="3" name="Picture 2">
            <a:extLst>
              <a:ext uri="{FF2B5EF4-FFF2-40B4-BE49-F238E27FC236}">
                <a16:creationId xmlns:a16="http://schemas.microsoft.com/office/drawing/2014/main" id="{A31ACF73-EF9A-EC9E-D5C3-9201E8149003}"/>
              </a:ext>
            </a:extLst>
          </p:cNvPr>
          <p:cNvPicPr>
            <a:picLocks noChangeAspect="1"/>
          </p:cNvPicPr>
          <p:nvPr/>
        </p:nvPicPr>
        <p:blipFill>
          <a:blip r:embed="rId7"/>
          <a:stretch>
            <a:fillRect/>
          </a:stretch>
        </p:blipFill>
        <p:spPr>
          <a:xfrm>
            <a:off x="9965660" y="789960"/>
            <a:ext cx="1056343" cy="1420093"/>
          </a:xfrm>
          <a:prstGeom prst="rect">
            <a:avLst/>
          </a:prstGeom>
        </p:spPr>
      </p:pic>
      <p:pic>
        <p:nvPicPr>
          <p:cNvPr id="2" name="Picture 1">
            <a:extLst>
              <a:ext uri="{FF2B5EF4-FFF2-40B4-BE49-F238E27FC236}">
                <a16:creationId xmlns:a16="http://schemas.microsoft.com/office/drawing/2014/main" id="{637D723E-BA37-AB43-E42E-835C94B2D105}"/>
              </a:ext>
            </a:extLst>
          </p:cNvPr>
          <p:cNvPicPr>
            <a:picLocks noChangeAspect="1"/>
          </p:cNvPicPr>
          <p:nvPr/>
        </p:nvPicPr>
        <p:blipFill>
          <a:blip r:embed="rId8"/>
          <a:stretch>
            <a:fillRect/>
          </a:stretch>
        </p:blipFill>
        <p:spPr>
          <a:xfrm>
            <a:off x="7241308" y="725765"/>
            <a:ext cx="1044161" cy="1498048"/>
          </a:xfrm>
          <a:prstGeom prst="rect">
            <a:avLst/>
          </a:prstGeom>
        </p:spPr>
      </p:pic>
      <p:pic>
        <p:nvPicPr>
          <p:cNvPr id="5" name="Picture 4" descr="A poster of a tree with buildings and a tree with icons&#10;&#10;AI-generated content may be incorrect.">
            <a:extLst>
              <a:ext uri="{FF2B5EF4-FFF2-40B4-BE49-F238E27FC236}">
                <a16:creationId xmlns:a16="http://schemas.microsoft.com/office/drawing/2014/main" id="{90118CF4-D996-F800-3940-1F63E090DC84}"/>
              </a:ext>
            </a:extLst>
          </p:cNvPr>
          <p:cNvPicPr>
            <a:picLocks noChangeAspect="1"/>
          </p:cNvPicPr>
          <p:nvPr/>
        </p:nvPicPr>
        <p:blipFill>
          <a:blip r:embed="rId9"/>
          <a:stretch>
            <a:fillRect/>
          </a:stretch>
        </p:blipFill>
        <p:spPr>
          <a:xfrm>
            <a:off x="2134052" y="3418549"/>
            <a:ext cx="1891538" cy="2675072"/>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63"/>
        <p:cNvGrpSpPr/>
        <p:nvPr/>
      </p:nvGrpSpPr>
      <p:grpSpPr>
        <a:xfrm>
          <a:off x="0" y="0"/>
          <a:ext cx="0" cy="0"/>
          <a:chOff x="0" y="0"/>
          <a:chExt cx="0" cy="0"/>
        </a:xfrm>
      </p:grpSpPr>
      <p:sp>
        <p:nvSpPr>
          <p:cNvPr id="164" name="Google Shape;164;p4"/>
          <p:cNvSpPr txBox="1"/>
          <p:nvPr/>
        </p:nvSpPr>
        <p:spPr>
          <a:xfrm>
            <a:off x="2271545" y="444577"/>
            <a:ext cx="764891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COMMON AIMS OF IAF AND ILAC</a:t>
            </a:r>
            <a:endParaRPr sz="3200" b="1" i="0" u="none" strike="noStrike" cap="none">
              <a:solidFill>
                <a:schemeClr val="accent1"/>
              </a:solidFill>
              <a:latin typeface="Montserrat"/>
              <a:ea typeface="Montserrat"/>
              <a:cs typeface="Montserrat"/>
              <a:sym typeface="Montserrat"/>
            </a:endParaRPr>
          </a:p>
        </p:txBody>
      </p:sp>
      <p:cxnSp>
        <p:nvCxnSpPr>
          <p:cNvPr id="165" name="Google Shape;165;p4"/>
          <p:cNvCxnSpPr/>
          <p:nvPr/>
        </p:nvCxnSpPr>
        <p:spPr>
          <a:xfrm>
            <a:off x="5529618" y="1101168"/>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66" name="Google Shape;166;p4"/>
          <p:cNvSpPr/>
          <p:nvPr/>
        </p:nvSpPr>
        <p:spPr>
          <a:xfrm>
            <a:off x="671886" y="3050313"/>
            <a:ext cx="1410375" cy="1280343"/>
          </a:xfrm>
          <a:custGeom>
            <a:avLst/>
            <a:gdLst/>
            <a:ahLst/>
            <a:cxnLst/>
            <a:rect l="l" t="t" r="r" b="b"/>
            <a:pathLst>
              <a:path w="1169746" h="1061899" extrusionOk="0">
                <a:moveTo>
                  <a:pt x="394864" y="-507"/>
                </a:moveTo>
                <a:cubicBezTo>
                  <a:pt x="176687" y="-463"/>
                  <a:pt x="-163" y="176415"/>
                  <a:pt x="-163" y="394593"/>
                </a:cubicBezTo>
                <a:lnTo>
                  <a:pt x="-163" y="1041896"/>
                </a:lnTo>
                <a:cubicBezTo>
                  <a:pt x="-163" y="1052666"/>
                  <a:pt x="8563" y="1061392"/>
                  <a:pt x="19333" y="1061392"/>
                </a:cubicBezTo>
                <a:cubicBezTo>
                  <a:pt x="30103" y="1061392"/>
                  <a:pt x="38829" y="1052666"/>
                  <a:pt x="38829" y="1041896"/>
                </a:cubicBezTo>
                <a:lnTo>
                  <a:pt x="38829" y="394593"/>
                </a:lnTo>
                <a:cubicBezTo>
                  <a:pt x="38829" y="197963"/>
                  <a:pt x="198234" y="38557"/>
                  <a:pt x="394864" y="38557"/>
                </a:cubicBezTo>
                <a:lnTo>
                  <a:pt x="1169584" y="38557"/>
                </a:lnTo>
                <a:lnTo>
                  <a:pt x="1169584" y="-507"/>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67" name="Google Shape;167;p4"/>
          <p:cNvSpPr/>
          <p:nvPr/>
        </p:nvSpPr>
        <p:spPr>
          <a:xfrm>
            <a:off x="2270313" y="3050313"/>
            <a:ext cx="1410375" cy="1280343"/>
          </a:xfrm>
          <a:custGeom>
            <a:avLst/>
            <a:gdLst/>
            <a:ahLst/>
            <a:cxnLst/>
            <a:rect l="l" t="t" r="r" b="b"/>
            <a:pathLst>
              <a:path w="1169746" h="1061899" extrusionOk="0">
                <a:moveTo>
                  <a:pt x="774557" y="-507"/>
                </a:moveTo>
                <a:lnTo>
                  <a:pt x="-163" y="-507"/>
                </a:lnTo>
                <a:lnTo>
                  <a:pt x="-163" y="38557"/>
                </a:lnTo>
                <a:lnTo>
                  <a:pt x="774557" y="38557"/>
                </a:lnTo>
                <a:cubicBezTo>
                  <a:pt x="971187" y="38557"/>
                  <a:pt x="1130593" y="197963"/>
                  <a:pt x="1130593" y="394593"/>
                </a:cubicBezTo>
                <a:lnTo>
                  <a:pt x="1130593" y="1041896"/>
                </a:lnTo>
                <a:cubicBezTo>
                  <a:pt x="1130593" y="1052666"/>
                  <a:pt x="1139318" y="1061392"/>
                  <a:pt x="1150088" y="1061392"/>
                </a:cubicBezTo>
                <a:cubicBezTo>
                  <a:pt x="1160858" y="1061392"/>
                  <a:pt x="1169584" y="1052666"/>
                  <a:pt x="1169584" y="1041896"/>
                </a:cubicBezTo>
                <a:lnTo>
                  <a:pt x="1169584" y="394593"/>
                </a:lnTo>
                <a:cubicBezTo>
                  <a:pt x="1169584" y="176415"/>
                  <a:pt x="992735" y="-463"/>
                  <a:pt x="774557" y="-50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68" name="Google Shape;168;p4"/>
          <p:cNvSpPr/>
          <p:nvPr/>
        </p:nvSpPr>
        <p:spPr>
          <a:xfrm>
            <a:off x="2131916" y="3029535"/>
            <a:ext cx="88744" cy="88744"/>
          </a:xfrm>
          <a:custGeom>
            <a:avLst/>
            <a:gdLst/>
            <a:ahLst/>
            <a:cxnLst/>
            <a:rect l="l" t="t" r="r" b="b"/>
            <a:pathLst>
              <a:path w="73602" h="73602" extrusionOk="0">
                <a:moveTo>
                  <a:pt x="73602" y="36801"/>
                </a:moveTo>
                <a:cubicBezTo>
                  <a:pt x="73602" y="57126"/>
                  <a:pt x="57126" y="73602"/>
                  <a:pt x="36801" y="73602"/>
                </a:cubicBezTo>
                <a:cubicBezTo>
                  <a:pt x="16476" y="73602"/>
                  <a:pt x="0" y="57126"/>
                  <a:pt x="0" y="36801"/>
                </a:cubicBezTo>
                <a:cubicBezTo>
                  <a:pt x="0"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69" name="Google Shape;169;p4"/>
          <p:cNvSpPr/>
          <p:nvPr/>
        </p:nvSpPr>
        <p:spPr>
          <a:xfrm>
            <a:off x="2058811" y="1520591"/>
            <a:ext cx="3556788" cy="1670840"/>
          </a:xfrm>
          <a:custGeom>
            <a:avLst/>
            <a:gdLst/>
            <a:ahLst/>
            <a:cxnLst/>
            <a:rect l="l" t="t" r="r" b="b"/>
            <a:pathLst>
              <a:path w="2949951" h="1385771" extrusionOk="0">
                <a:moveTo>
                  <a:pt x="2949789" y="89276"/>
                </a:moveTo>
                <a:cubicBezTo>
                  <a:pt x="2949738" y="39631"/>
                  <a:pt x="2909446" y="-565"/>
                  <a:pt x="2859809" y="-507"/>
                </a:cubicBezTo>
                <a:cubicBezTo>
                  <a:pt x="2810164" y="-456"/>
                  <a:pt x="2769968" y="39828"/>
                  <a:pt x="2770019" y="89473"/>
                </a:cubicBezTo>
                <a:cubicBezTo>
                  <a:pt x="2770041" y="112751"/>
                  <a:pt x="2779102" y="135116"/>
                  <a:pt x="2795283" y="151852"/>
                </a:cubicBezTo>
                <a:cubicBezTo>
                  <a:pt x="2824592" y="182899"/>
                  <a:pt x="2840737" y="224089"/>
                  <a:pt x="2840335" y="266782"/>
                </a:cubicBezTo>
                <a:lnTo>
                  <a:pt x="2840335" y="347905"/>
                </a:lnTo>
                <a:cubicBezTo>
                  <a:pt x="2840379" y="506347"/>
                  <a:pt x="2711962" y="634821"/>
                  <a:pt x="2553521" y="634866"/>
                </a:cubicBezTo>
                <a:cubicBezTo>
                  <a:pt x="2553499" y="634866"/>
                  <a:pt x="2553469" y="634866"/>
                  <a:pt x="2553448" y="634866"/>
                </a:cubicBezTo>
                <a:lnTo>
                  <a:pt x="403655" y="634866"/>
                </a:lnTo>
                <a:cubicBezTo>
                  <a:pt x="223636" y="634866"/>
                  <a:pt x="77703" y="780799"/>
                  <a:pt x="77703" y="960817"/>
                </a:cubicBezTo>
                <a:lnTo>
                  <a:pt x="77703" y="1098529"/>
                </a:lnTo>
                <a:cubicBezTo>
                  <a:pt x="78053" y="1143464"/>
                  <a:pt x="60441" y="1186676"/>
                  <a:pt x="28781" y="1218571"/>
                </a:cubicBezTo>
                <a:cubicBezTo>
                  <a:pt x="-9488" y="1256379"/>
                  <a:pt x="-9853" y="1318058"/>
                  <a:pt x="27956" y="1356319"/>
                </a:cubicBezTo>
                <a:cubicBezTo>
                  <a:pt x="65764" y="1394587"/>
                  <a:pt x="127443" y="1394960"/>
                  <a:pt x="165704" y="1357144"/>
                </a:cubicBezTo>
                <a:cubicBezTo>
                  <a:pt x="203973" y="1319335"/>
                  <a:pt x="204345" y="1257664"/>
                  <a:pt x="166529" y="1219396"/>
                </a:cubicBezTo>
                <a:cubicBezTo>
                  <a:pt x="166011" y="1218870"/>
                  <a:pt x="165492" y="1218351"/>
                  <a:pt x="164959" y="1217840"/>
                </a:cubicBezTo>
                <a:cubicBezTo>
                  <a:pt x="133729" y="1187027"/>
                  <a:pt x="116315" y="1144881"/>
                  <a:pt x="116694" y="1101012"/>
                </a:cubicBezTo>
                <a:lnTo>
                  <a:pt x="116694" y="960671"/>
                </a:lnTo>
                <a:cubicBezTo>
                  <a:pt x="116694" y="802186"/>
                  <a:pt x="245169" y="673711"/>
                  <a:pt x="403655" y="673711"/>
                </a:cubicBezTo>
                <a:lnTo>
                  <a:pt x="2553448" y="673711"/>
                </a:lnTo>
                <a:cubicBezTo>
                  <a:pt x="2733466" y="673711"/>
                  <a:pt x="2879400" y="527777"/>
                  <a:pt x="2879400" y="347759"/>
                </a:cubicBezTo>
                <a:lnTo>
                  <a:pt x="2879400" y="263496"/>
                </a:lnTo>
                <a:cubicBezTo>
                  <a:pt x="2879757" y="221489"/>
                  <a:pt x="2896157" y="181205"/>
                  <a:pt x="2925255" y="150903"/>
                </a:cubicBezTo>
                <a:cubicBezTo>
                  <a:pt x="2941012" y="134255"/>
                  <a:pt x="2949789" y="112196"/>
                  <a:pt x="2949789" y="89276"/>
                </a:cubicBezTo>
                <a:close/>
                <a:moveTo>
                  <a:pt x="155759" y="1287792"/>
                </a:moveTo>
                <a:cubicBezTo>
                  <a:pt x="155759" y="1320051"/>
                  <a:pt x="129604" y="1346206"/>
                  <a:pt x="97344" y="1346206"/>
                </a:cubicBezTo>
                <a:cubicBezTo>
                  <a:pt x="65085" y="1346206"/>
                  <a:pt x="38930" y="1320051"/>
                  <a:pt x="38930" y="1287792"/>
                </a:cubicBezTo>
                <a:cubicBezTo>
                  <a:pt x="38930" y="1255532"/>
                  <a:pt x="65085" y="1229377"/>
                  <a:pt x="97344" y="1229377"/>
                </a:cubicBezTo>
                <a:cubicBezTo>
                  <a:pt x="129604" y="1229377"/>
                  <a:pt x="155759" y="1255532"/>
                  <a:pt x="155759" y="1287792"/>
                </a:cubicBezTo>
                <a:close/>
                <a:moveTo>
                  <a:pt x="2859831" y="140169"/>
                </a:moveTo>
                <a:cubicBezTo>
                  <a:pt x="2831602" y="140169"/>
                  <a:pt x="2808718" y="117285"/>
                  <a:pt x="2808718" y="89057"/>
                </a:cubicBezTo>
                <a:cubicBezTo>
                  <a:pt x="2808718" y="60828"/>
                  <a:pt x="2831602" y="37944"/>
                  <a:pt x="2859831" y="37944"/>
                </a:cubicBezTo>
                <a:cubicBezTo>
                  <a:pt x="2888059" y="37944"/>
                  <a:pt x="2910943" y="60828"/>
                  <a:pt x="2910943" y="89057"/>
                </a:cubicBezTo>
                <a:cubicBezTo>
                  <a:pt x="2910943" y="117285"/>
                  <a:pt x="2888059" y="140169"/>
                  <a:pt x="2859831" y="14016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0" name="Google Shape;170;p4"/>
          <p:cNvSpPr/>
          <p:nvPr/>
        </p:nvSpPr>
        <p:spPr>
          <a:xfrm>
            <a:off x="578125" y="4469902"/>
            <a:ext cx="3196676" cy="1622223"/>
          </a:xfrm>
          <a:custGeom>
            <a:avLst/>
            <a:gdLst/>
            <a:ahLst/>
            <a:cxnLst/>
            <a:rect l="l" t="t" r="r" b="b"/>
            <a:pathLst>
              <a:path w="2651279" h="1345449" extrusionOk="0">
                <a:moveTo>
                  <a:pt x="2651117" y="97213"/>
                </a:moveTo>
                <a:cubicBezTo>
                  <a:pt x="2651212" y="43333"/>
                  <a:pt x="2607613" y="-412"/>
                  <a:pt x="2553734" y="-507"/>
                </a:cubicBezTo>
                <a:cubicBezTo>
                  <a:pt x="2499861" y="-602"/>
                  <a:pt x="2456109" y="42997"/>
                  <a:pt x="2456014" y="96877"/>
                </a:cubicBezTo>
                <a:cubicBezTo>
                  <a:pt x="2455955" y="131911"/>
                  <a:pt x="2474684" y="164287"/>
                  <a:pt x="2505081" y="181695"/>
                </a:cubicBezTo>
                <a:cubicBezTo>
                  <a:pt x="2523022" y="191808"/>
                  <a:pt x="2534165" y="210756"/>
                  <a:pt x="2534289" y="231347"/>
                </a:cubicBezTo>
                <a:lnTo>
                  <a:pt x="2534289" y="949916"/>
                </a:lnTo>
                <a:cubicBezTo>
                  <a:pt x="2534289" y="1146546"/>
                  <a:pt x="2374883" y="1305951"/>
                  <a:pt x="2178254" y="1305951"/>
                </a:cubicBezTo>
                <a:lnTo>
                  <a:pt x="472628" y="1305951"/>
                </a:lnTo>
                <a:cubicBezTo>
                  <a:pt x="275998" y="1305951"/>
                  <a:pt x="116593" y="1146546"/>
                  <a:pt x="116593" y="949916"/>
                </a:cubicBezTo>
                <a:lnTo>
                  <a:pt x="116593" y="231347"/>
                </a:lnTo>
                <a:cubicBezTo>
                  <a:pt x="116717" y="210756"/>
                  <a:pt x="127860" y="191808"/>
                  <a:pt x="145800" y="181695"/>
                </a:cubicBezTo>
                <a:cubicBezTo>
                  <a:pt x="192437" y="154890"/>
                  <a:pt x="208515" y="95344"/>
                  <a:pt x="181710" y="48707"/>
                </a:cubicBezTo>
                <a:cubicBezTo>
                  <a:pt x="154898" y="2064"/>
                  <a:pt x="95359" y="-14015"/>
                  <a:pt x="48716" y="12797"/>
                </a:cubicBezTo>
                <a:cubicBezTo>
                  <a:pt x="2079" y="39602"/>
                  <a:pt x="-13999" y="99148"/>
                  <a:pt x="12813" y="145785"/>
                </a:cubicBezTo>
                <a:cubicBezTo>
                  <a:pt x="21546" y="160980"/>
                  <a:pt x="34214" y="173538"/>
                  <a:pt x="49490" y="182133"/>
                </a:cubicBezTo>
                <a:cubicBezTo>
                  <a:pt x="67109" y="192239"/>
                  <a:pt x="77930" y="211033"/>
                  <a:pt x="77821" y="231347"/>
                </a:cubicBezTo>
                <a:lnTo>
                  <a:pt x="77821" y="949916"/>
                </a:lnTo>
                <a:cubicBezTo>
                  <a:pt x="77821" y="1168086"/>
                  <a:pt x="254677" y="1344943"/>
                  <a:pt x="472847" y="1344943"/>
                </a:cubicBezTo>
                <a:lnTo>
                  <a:pt x="2178034" y="1344943"/>
                </a:lnTo>
                <a:cubicBezTo>
                  <a:pt x="2396204" y="1344943"/>
                  <a:pt x="2573061" y="1168086"/>
                  <a:pt x="2573061" y="949916"/>
                </a:cubicBezTo>
                <a:lnTo>
                  <a:pt x="2573061" y="231347"/>
                </a:lnTo>
                <a:cubicBezTo>
                  <a:pt x="2572952" y="211033"/>
                  <a:pt x="2583773" y="192239"/>
                  <a:pt x="2601392" y="182133"/>
                </a:cubicBezTo>
                <a:cubicBezTo>
                  <a:pt x="2632074" y="164872"/>
                  <a:pt x="2651081" y="132422"/>
                  <a:pt x="2651117" y="97213"/>
                </a:cubicBezTo>
                <a:close/>
                <a:moveTo>
                  <a:pt x="38610" y="97213"/>
                </a:moveTo>
                <a:cubicBezTo>
                  <a:pt x="38610" y="64954"/>
                  <a:pt x="64765" y="38799"/>
                  <a:pt x="97024" y="38799"/>
                </a:cubicBezTo>
                <a:cubicBezTo>
                  <a:pt x="129284" y="38799"/>
                  <a:pt x="155439" y="64954"/>
                  <a:pt x="155439" y="97213"/>
                </a:cubicBezTo>
                <a:cubicBezTo>
                  <a:pt x="155439" y="129472"/>
                  <a:pt x="129284" y="155628"/>
                  <a:pt x="97024" y="155628"/>
                </a:cubicBezTo>
                <a:cubicBezTo>
                  <a:pt x="64765" y="155628"/>
                  <a:pt x="38610" y="129472"/>
                  <a:pt x="38610" y="97213"/>
                </a:cubicBezTo>
                <a:close/>
                <a:moveTo>
                  <a:pt x="2553565" y="155628"/>
                </a:moveTo>
                <a:cubicBezTo>
                  <a:pt x="2521306" y="155628"/>
                  <a:pt x="2495151" y="129472"/>
                  <a:pt x="2495151" y="97213"/>
                </a:cubicBezTo>
                <a:cubicBezTo>
                  <a:pt x="2495151" y="64954"/>
                  <a:pt x="2521306" y="38799"/>
                  <a:pt x="2553565" y="38799"/>
                </a:cubicBezTo>
                <a:cubicBezTo>
                  <a:pt x="2585825" y="38799"/>
                  <a:pt x="2611980" y="64954"/>
                  <a:pt x="2611980" y="97213"/>
                </a:cubicBezTo>
                <a:cubicBezTo>
                  <a:pt x="2612016" y="129472"/>
                  <a:pt x="2585898" y="155657"/>
                  <a:pt x="2553639" y="155700"/>
                </a:cubicBezTo>
                <a:cubicBezTo>
                  <a:pt x="2553617" y="155700"/>
                  <a:pt x="2553587" y="155700"/>
                  <a:pt x="2553565" y="15570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1" name="Google Shape;171;p4"/>
          <p:cNvSpPr/>
          <p:nvPr/>
        </p:nvSpPr>
        <p:spPr>
          <a:xfrm>
            <a:off x="3612900" y="4543353"/>
            <a:ext cx="88744" cy="88744"/>
          </a:xfrm>
          <a:custGeom>
            <a:avLst/>
            <a:gdLst/>
            <a:ahLst/>
            <a:cxnLst/>
            <a:rect l="l" t="t" r="r" b="b"/>
            <a:pathLst>
              <a:path w="73602" h="73602" extrusionOk="0">
                <a:moveTo>
                  <a:pt x="73602" y="36801"/>
                </a:moveTo>
                <a:cubicBezTo>
                  <a:pt x="73602" y="57126"/>
                  <a:pt x="57126" y="73602"/>
                  <a:pt x="36801" y="73602"/>
                </a:cubicBezTo>
                <a:cubicBezTo>
                  <a:pt x="16476" y="73602"/>
                  <a:pt x="0" y="57126"/>
                  <a:pt x="0" y="36801"/>
                </a:cubicBezTo>
                <a:cubicBezTo>
                  <a:pt x="0"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2" name="Google Shape;172;p4"/>
          <p:cNvSpPr/>
          <p:nvPr/>
        </p:nvSpPr>
        <p:spPr>
          <a:xfrm>
            <a:off x="875655" y="3273135"/>
            <a:ext cx="2596166" cy="2596165"/>
          </a:xfrm>
          <a:custGeom>
            <a:avLst/>
            <a:gdLst/>
            <a:ahLst/>
            <a:cxnLst/>
            <a:rect l="l" t="t" r="r" b="b"/>
            <a:pathLst>
              <a:path w="2153224" h="2153224" extrusionOk="0">
                <a:moveTo>
                  <a:pt x="1929279" y="0"/>
                </a:moveTo>
                <a:cubicBezTo>
                  <a:pt x="2052961" y="0"/>
                  <a:pt x="2153225" y="0"/>
                  <a:pt x="2153225" y="0"/>
                </a:cubicBezTo>
                <a:lnTo>
                  <a:pt x="2153225" y="2153225"/>
                </a:lnTo>
                <a:cubicBezTo>
                  <a:pt x="2153225" y="2153225"/>
                  <a:pt x="2052961" y="2153225"/>
                  <a:pt x="1929279" y="2153225"/>
                </a:cubicBezTo>
                <a:lnTo>
                  <a:pt x="223946" y="2153225"/>
                </a:lnTo>
                <a:cubicBezTo>
                  <a:pt x="100264" y="2153225"/>
                  <a:pt x="0" y="2153225"/>
                  <a:pt x="0" y="2153225"/>
                </a:cubicBezTo>
                <a:lnTo>
                  <a:pt x="0" y="0"/>
                </a:lnTo>
                <a:cubicBezTo>
                  <a:pt x="0" y="0"/>
                  <a:pt x="100264" y="0"/>
                  <a:pt x="22394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3" name="Google Shape;173;p4"/>
          <p:cNvSpPr/>
          <p:nvPr/>
        </p:nvSpPr>
        <p:spPr>
          <a:xfrm>
            <a:off x="4591322" y="3050313"/>
            <a:ext cx="1420148" cy="1280343"/>
          </a:xfrm>
          <a:custGeom>
            <a:avLst/>
            <a:gdLst/>
            <a:ahLst/>
            <a:cxnLst/>
            <a:rect l="l" t="t" r="r" b="b"/>
            <a:pathLst>
              <a:path w="1177851" h="1061899" extrusionOk="0">
                <a:moveTo>
                  <a:pt x="394938" y="-507"/>
                </a:moveTo>
                <a:cubicBezTo>
                  <a:pt x="176745" y="-463"/>
                  <a:pt x="-118" y="176400"/>
                  <a:pt x="-163" y="394593"/>
                </a:cubicBezTo>
                <a:lnTo>
                  <a:pt x="-163" y="1041896"/>
                </a:lnTo>
                <a:cubicBezTo>
                  <a:pt x="-163" y="1052666"/>
                  <a:pt x="8563" y="1061392"/>
                  <a:pt x="19334" y="1061392"/>
                </a:cubicBezTo>
                <a:cubicBezTo>
                  <a:pt x="30103" y="1061392"/>
                  <a:pt x="38829" y="1052666"/>
                  <a:pt x="38829" y="1041896"/>
                </a:cubicBezTo>
                <a:lnTo>
                  <a:pt x="38829" y="394593"/>
                </a:lnTo>
                <a:cubicBezTo>
                  <a:pt x="38866" y="197948"/>
                  <a:pt x="198293" y="38557"/>
                  <a:pt x="394938" y="38557"/>
                </a:cubicBezTo>
                <a:lnTo>
                  <a:pt x="1177689" y="38557"/>
                </a:lnTo>
                <a:lnTo>
                  <a:pt x="1177689" y="-507"/>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4" name="Google Shape;174;p4"/>
          <p:cNvSpPr/>
          <p:nvPr/>
        </p:nvSpPr>
        <p:spPr>
          <a:xfrm>
            <a:off x="6199522" y="3050313"/>
            <a:ext cx="1400427" cy="1141945"/>
          </a:xfrm>
          <a:custGeom>
            <a:avLst/>
            <a:gdLst/>
            <a:ahLst/>
            <a:cxnLst/>
            <a:rect l="l" t="t" r="r" b="b"/>
            <a:pathLst>
              <a:path w="1161495" h="947114" extrusionOk="0">
                <a:moveTo>
                  <a:pt x="766525" y="-507"/>
                </a:moveTo>
                <a:lnTo>
                  <a:pt x="-163" y="-507"/>
                </a:lnTo>
                <a:lnTo>
                  <a:pt x="-163" y="38557"/>
                </a:lnTo>
                <a:lnTo>
                  <a:pt x="766525" y="38557"/>
                </a:lnTo>
                <a:cubicBezTo>
                  <a:pt x="963089" y="38682"/>
                  <a:pt x="1122341" y="198043"/>
                  <a:pt x="1122341" y="394593"/>
                </a:cubicBezTo>
                <a:lnTo>
                  <a:pt x="1122341" y="927112"/>
                </a:lnTo>
                <a:cubicBezTo>
                  <a:pt x="1122341" y="937882"/>
                  <a:pt x="1131103" y="946608"/>
                  <a:pt x="1141838" y="946608"/>
                </a:cubicBezTo>
                <a:cubicBezTo>
                  <a:pt x="1152571" y="946608"/>
                  <a:pt x="1161333" y="937882"/>
                  <a:pt x="1161333" y="927112"/>
                </a:cubicBezTo>
                <a:lnTo>
                  <a:pt x="1161333" y="394593"/>
                </a:lnTo>
                <a:cubicBezTo>
                  <a:pt x="1161333" y="176495"/>
                  <a:pt x="984630" y="-347"/>
                  <a:pt x="766525" y="-50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5" name="Google Shape;175;p4"/>
          <p:cNvSpPr/>
          <p:nvPr/>
        </p:nvSpPr>
        <p:spPr>
          <a:xfrm>
            <a:off x="5988051" y="1520608"/>
            <a:ext cx="235065" cy="1670726"/>
          </a:xfrm>
          <a:custGeom>
            <a:avLst/>
            <a:gdLst/>
            <a:ahLst/>
            <a:cxnLst/>
            <a:rect l="l" t="t" r="r" b="b"/>
            <a:pathLst>
              <a:path w="194960" h="1385677" extrusionOk="0">
                <a:moveTo>
                  <a:pt x="117544" y="1101655"/>
                </a:moveTo>
                <a:lnTo>
                  <a:pt x="117544" y="266622"/>
                </a:lnTo>
                <a:cubicBezTo>
                  <a:pt x="117179" y="223965"/>
                  <a:pt x="133352" y="182827"/>
                  <a:pt x="162669" y="151838"/>
                </a:cubicBezTo>
                <a:cubicBezTo>
                  <a:pt x="197162" y="116140"/>
                  <a:pt x="196191" y="59237"/>
                  <a:pt x="160485" y="24743"/>
                </a:cubicBezTo>
                <a:cubicBezTo>
                  <a:pt x="124787" y="-9758"/>
                  <a:pt x="67884" y="-8780"/>
                  <a:pt x="33390" y="26919"/>
                </a:cubicBezTo>
                <a:cubicBezTo>
                  <a:pt x="29" y="61449"/>
                  <a:pt x="-307" y="116096"/>
                  <a:pt x="32624" y="151035"/>
                </a:cubicBezTo>
                <a:cubicBezTo>
                  <a:pt x="61656" y="181308"/>
                  <a:pt x="78012" y="221541"/>
                  <a:pt x="78333" y="263482"/>
                </a:cubicBezTo>
                <a:lnTo>
                  <a:pt x="78333" y="1098004"/>
                </a:lnTo>
                <a:cubicBezTo>
                  <a:pt x="78742" y="1142939"/>
                  <a:pt x="61057" y="1186144"/>
                  <a:pt x="29265" y="1217899"/>
                </a:cubicBezTo>
                <a:cubicBezTo>
                  <a:pt x="-9281" y="1255481"/>
                  <a:pt x="-10062" y="1317196"/>
                  <a:pt x="27527" y="1355742"/>
                </a:cubicBezTo>
                <a:cubicBezTo>
                  <a:pt x="65110" y="1394288"/>
                  <a:pt x="126824" y="1395070"/>
                  <a:pt x="165370" y="1357480"/>
                </a:cubicBezTo>
                <a:cubicBezTo>
                  <a:pt x="203916" y="1319898"/>
                  <a:pt x="204698" y="1258183"/>
                  <a:pt x="167109" y="1219637"/>
                </a:cubicBezTo>
                <a:cubicBezTo>
                  <a:pt x="166539" y="1219053"/>
                  <a:pt x="165955" y="1218469"/>
                  <a:pt x="165370" y="1217899"/>
                </a:cubicBezTo>
                <a:cubicBezTo>
                  <a:pt x="134462" y="1187144"/>
                  <a:pt x="117230" y="1145254"/>
                  <a:pt x="117544" y="1101655"/>
                </a:cubicBezTo>
                <a:close/>
                <a:moveTo>
                  <a:pt x="47154" y="89262"/>
                </a:moveTo>
                <a:cubicBezTo>
                  <a:pt x="47154" y="61033"/>
                  <a:pt x="70038" y="38149"/>
                  <a:pt x="98267" y="38149"/>
                </a:cubicBezTo>
                <a:cubicBezTo>
                  <a:pt x="126496" y="38149"/>
                  <a:pt x="149379" y="61033"/>
                  <a:pt x="149379" y="89262"/>
                </a:cubicBezTo>
                <a:cubicBezTo>
                  <a:pt x="149379" y="117491"/>
                  <a:pt x="126496" y="140374"/>
                  <a:pt x="98267" y="140374"/>
                </a:cubicBezTo>
                <a:cubicBezTo>
                  <a:pt x="70038" y="140374"/>
                  <a:pt x="47154" y="117491"/>
                  <a:pt x="47154" y="89262"/>
                </a:cubicBezTo>
                <a:close/>
                <a:moveTo>
                  <a:pt x="97245" y="1346265"/>
                </a:moveTo>
                <a:cubicBezTo>
                  <a:pt x="64985" y="1346265"/>
                  <a:pt x="38831" y="1320110"/>
                  <a:pt x="38831" y="1287851"/>
                </a:cubicBezTo>
                <a:cubicBezTo>
                  <a:pt x="38831" y="1255591"/>
                  <a:pt x="64985" y="1229436"/>
                  <a:pt x="97245" y="1229436"/>
                </a:cubicBezTo>
                <a:cubicBezTo>
                  <a:pt x="129504" y="1229436"/>
                  <a:pt x="155659" y="1255591"/>
                  <a:pt x="155659" y="1287851"/>
                </a:cubicBezTo>
                <a:cubicBezTo>
                  <a:pt x="155659" y="1320110"/>
                  <a:pt x="129504" y="1346265"/>
                  <a:pt x="97245" y="134626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6" name="Google Shape;176;p4"/>
          <p:cNvSpPr/>
          <p:nvPr/>
        </p:nvSpPr>
        <p:spPr>
          <a:xfrm>
            <a:off x="6061213" y="3029535"/>
            <a:ext cx="88744" cy="88744"/>
          </a:xfrm>
          <a:custGeom>
            <a:avLst/>
            <a:gdLst/>
            <a:ahLst/>
            <a:cxnLst/>
            <a:rect l="l" t="t" r="r" b="b"/>
            <a:pathLst>
              <a:path w="73602" h="73602" extrusionOk="0">
                <a:moveTo>
                  <a:pt x="73602" y="36801"/>
                </a:moveTo>
                <a:cubicBezTo>
                  <a:pt x="73602" y="57126"/>
                  <a:pt x="57126" y="73602"/>
                  <a:pt x="36801" y="73602"/>
                </a:cubicBezTo>
                <a:cubicBezTo>
                  <a:pt x="16477" y="73602"/>
                  <a:pt x="0" y="57126"/>
                  <a:pt x="0" y="36801"/>
                </a:cubicBezTo>
                <a:cubicBezTo>
                  <a:pt x="0" y="16476"/>
                  <a:pt x="16477" y="0"/>
                  <a:pt x="36801" y="0"/>
                </a:cubicBezTo>
                <a:cubicBezTo>
                  <a:pt x="57126" y="0"/>
                  <a:pt x="73602" y="16476"/>
                  <a:pt x="73602" y="3680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7" name="Google Shape;177;p4"/>
          <p:cNvSpPr/>
          <p:nvPr/>
        </p:nvSpPr>
        <p:spPr>
          <a:xfrm>
            <a:off x="7459176" y="4331744"/>
            <a:ext cx="235064" cy="291989"/>
          </a:xfrm>
          <a:custGeom>
            <a:avLst/>
            <a:gdLst/>
            <a:ahLst/>
            <a:cxnLst/>
            <a:rect l="l" t="t" r="r" b="b"/>
            <a:pathLst>
              <a:path w="194958" h="242171" extrusionOk="0">
                <a:moveTo>
                  <a:pt x="194796" y="96943"/>
                </a:moveTo>
                <a:cubicBezTo>
                  <a:pt x="194796" y="43107"/>
                  <a:pt x="151130" y="-521"/>
                  <a:pt x="97316" y="-507"/>
                </a:cubicBezTo>
                <a:cubicBezTo>
                  <a:pt x="43429" y="-492"/>
                  <a:pt x="-163" y="43165"/>
                  <a:pt x="-163" y="97001"/>
                </a:cubicBezTo>
                <a:cubicBezTo>
                  <a:pt x="-163" y="131896"/>
                  <a:pt x="18530" y="164119"/>
                  <a:pt x="48760" y="181497"/>
                </a:cubicBezTo>
                <a:cubicBezTo>
                  <a:pt x="66722" y="191611"/>
                  <a:pt x="77821" y="210558"/>
                  <a:pt x="77967" y="231150"/>
                </a:cubicBezTo>
                <a:lnTo>
                  <a:pt x="77967" y="241664"/>
                </a:lnTo>
                <a:lnTo>
                  <a:pt x="116958" y="241664"/>
                </a:lnTo>
                <a:lnTo>
                  <a:pt x="116958" y="231150"/>
                </a:lnTo>
                <a:cubicBezTo>
                  <a:pt x="116812" y="210836"/>
                  <a:pt x="127692" y="192027"/>
                  <a:pt x="145289" y="181936"/>
                </a:cubicBezTo>
                <a:cubicBezTo>
                  <a:pt x="175883" y="164594"/>
                  <a:pt x="194796" y="132123"/>
                  <a:pt x="194796" y="96943"/>
                </a:cubicBezTo>
                <a:close/>
                <a:moveTo>
                  <a:pt x="97316" y="155357"/>
                </a:moveTo>
                <a:cubicBezTo>
                  <a:pt x="65043" y="155357"/>
                  <a:pt x="38902" y="129202"/>
                  <a:pt x="38902" y="96943"/>
                </a:cubicBezTo>
                <a:cubicBezTo>
                  <a:pt x="38902" y="64684"/>
                  <a:pt x="65043" y="38528"/>
                  <a:pt x="97316" y="38528"/>
                </a:cubicBezTo>
                <a:cubicBezTo>
                  <a:pt x="129590" y="38528"/>
                  <a:pt x="155730" y="64684"/>
                  <a:pt x="155730" y="96943"/>
                </a:cubicBezTo>
                <a:cubicBezTo>
                  <a:pt x="155804" y="129202"/>
                  <a:pt x="129737" y="155423"/>
                  <a:pt x="97462" y="155503"/>
                </a:cubicBezTo>
                <a:cubicBezTo>
                  <a:pt x="97389" y="155503"/>
                  <a:pt x="97389" y="155503"/>
                  <a:pt x="97316" y="155503"/>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8" name="Google Shape;178;p4"/>
          <p:cNvSpPr/>
          <p:nvPr/>
        </p:nvSpPr>
        <p:spPr>
          <a:xfrm>
            <a:off x="7532424" y="4404869"/>
            <a:ext cx="88744" cy="88744"/>
          </a:xfrm>
          <a:custGeom>
            <a:avLst/>
            <a:gdLst/>
            <a:ahLst/>
            <a:cxnLst/>
            <a:rect l="l" t="t" r="r" b="b"/>
            <a:pathLst>
              <a:path w="73602" h="73602" extrusionOk="0">
                <a:moveTo>
                  <a:pt x="73602" y="36801"/>
                </a:moveTo>
                <a:cubicBezTo>
                  <a:pt x="73602" y="57126"/>
                  <a:pt x="57126" y="73602"/>
                  <a:pt x="36801" y="73602"/>
                </a:cubicBezTo>
                <a:cubicBezTo>
                  <a:pt x="16477" y="73602"/>
                  <a:pt x="0" y="57126"/>
                  <a:pt x="0" y="36801"/>
                </a:cubicBezTo>
                <a:cubicBezTo>
                  <a:pt x="0" y="16476"/>
                  <a:pt x="16477" y="0"/>
                  <a:pt x="36801" y="0"/>
                </a:cubicBezTo>
                <a:cubicBezTo>
                  <a:pt x="57126" y="0"/>
                  <a:pt x="73602" y="16476"/>
                  <a:pt x="73602" y="3680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9" name="Google Shape;179;p4"/>
          <p:cNvSpPr/>
          <p:nvPr/>
        </p:nvSpPr>
        <p:spPr>
          <a:xfrm>
            <a:off x="4497474" y="4470109"/>
            <a:ext cx="3196762" cy="1622016"/>
          </a:xfrm>
          <a:custGeom>
            <a:avLst/>
            <a:gdLst/>
            <a:ahLst/>
            <a:cxnLst/>
            <a:rect l="l" t="t" r="r" b="b"/>
            <a:pathLst>
              <a:path w="2651351" h="1345277" extrusionOk="0">
                <a:moveTo>
                  <a:pt x="2651190" y="204888"/>
                </a:moveTo>
                <a:cubicBezTo>
                  <a:pt x="2651190" y="151053"/>
                  <a:pt x="2607524" y="107424"/>
                  <a:pt x="2553710" y="107439"/>
                </a:cubicBezTo>
                <a:cubicBezTo>
                  <a:pt x="2499823" y="107453"/>
                  <a:pt x="2456231" y="151111"/>
                  <a:pt x="2456231" y="204947"/>
                </a:cubicBezTo>
                <a:cubicBezTo>
                  <a:pt x="2456231" y="239842"/>
                  <a:pt x="2474924" y="272065"/>
                  <a:pt x="2505154" y="289443"/>
                </a:cubicBezTo>
                <a:cubicBezTo>
                  <a:pt x="2523116" y="299556"/>
                  <a:pt x="2534215" y="318504"/>
                  <a:pt x="2534361" y="339095"/>
                </a:cubicBezTo>
                <a:lnTo>
                  <a:pt x="2534361" y="949744"/>
                </a:lnTo>
                <a:cubicBezTo>
                  <a:pt x="2534361" y="1146374"/>
                  <a:pt x="2374962" y="1305779"/>
                  <a:pt x="2178325" y="1305779"/>
                </a:cubicBezTo>
                <a:lnTo>
                  <a:pt x="472773" y="1305779"/>
                </a:lnTo>
                <a:cubicBezTo>
                  <a:pt x="276129" y="1305779"/>
                  <a:pt x="116709" y="1146389"/>
                  <a:pt x="116665" y="949744"/>
                </a:cubicBezTo>
                <a:lnTo>
                  <a:pt x="116665" y="231175"/>
                </a:lnTo>
                <a:cubicBezTo>
                  <a:pt x="116803" y="210584"/>
                  <a:pt x="127946" y="191650"/>
                  <a:pt x="145872" y="181523"/>
                </a:cubicBezTo>
                <a:cubicBezTo>
                  <a:pt x="192560" y="154718"/>
                  <a:pt x="208675" y="95135"/>
                  <a:pt x="181863" y="48448"/>
                </a:cubicBezTo>
                <a:cubicBezTo>
                  <a:pt x="155058" y="1760"/>
                  <a:pt x="95475" y="-14355"/>
                  <a:pt x="48787" y="12457"/>
                </a:cubicBezTo>
                <a:cubicBezTo>
                  <a:pt x="2107" y="39262"/>
                  <a:pt x="-14008" y="98845"/>
                  <a:pt x="12797" y="145532"/>
                </a:cubicBezTo>
                <a:cubicBezTo>
                  <a:pt x="21545" y="160764"/>
                  <a:pt x="34250" y="173352"/>
                  <a:pt x="49561" y="181961"/>
                </a:cubicBezTo>
                <a:cubicBezTo>
                  <a:pt x="67144" y="192096"/>
                  <a:pt x="77929" y="210883"/>
                  <a:pt x="77819" y="231175"/>
                </a:cubicBezTo>
                <a:lnTo>
                  <a:pt x="77819" y="949744"/>
                </a:lnTo>
                <a:cubicBezTo>
                  <a:pt x="77856" y="1167922"/>
                  <a:pt x="254741" y="1344771"/>
                  <a:pt x="472919" y="1344771"/>
                </a:cubicBezTo>
                <a:lnTo>
                  <a:pt x="2178179" y="1344771"/>
                </a:lnTo>
                <a:cubicBezTo>
                  <a:pt x="2396357" y="1344771"/>
                  <a:pt x="2573206" y="1167914"/>
                  <a:pt x="2573206" y="949744"/>
                </a:cubicBezTo>
                <a:lnTo>
                  <a:pt x="2573206" y="339095"/>
                </a:lnTo>
                <a:cubicBezTo>
                  <a:pt x="2573060" y="318782"/>
                  <a:pt x="2583939" y="299973"/>
                  <a:pt x="2601537" y="289881"/>
                </a:cubicBezTo>
                <a:cubicBezTo>
                  <a:pt x="2632204" y="272576"/>
                  <a:pt x="2651190" y="240098"/>
                  <a:pt x="2651190" y="204888"/>
                </a:cubicBezTo>
                <a:close/>
                <a:moveTo>
                  <a:pt x="38682" y="97041"/>
                </a:moveTo>
                <a:cubicBezTo>
                  <a:pt x="38682" y="64782"/>
                  <a:pt x="64837" y="38627"/>
                  <a:pt x="97096" y="38627"/>
                </a:cubicBezTo>
                <a:cubicBezTo>
                  <a:pt x="129355" y="38627"/>
                  <a:pt x="155510" y="64782"/>
                  <a:pt x="155510" y="97041"/>
                </a:cubicBezTo>
                <a:cubicBezTo>
                  <a:pt x="155510" y="129300"/>
                  <a:pt x="129355" y="155456"/>
                  <a:pt x="97096" y="155456"/>
                </a:cubicBezTo>
                <a:cubicBezTo>
                  <a:pt x="64837" y="155456"/>
                  <a:pt x="38682" y="129300"/>
                  <a:pt x="38682" y="97041"/>
                </a:cubicBezTo>
                <a:close/>
                <a:moveTo>
                  <a:pt x="2553710" y="263449"/>
                </a:moveTo>
                <a:cubicBezTo>
                  <a:pt x="2521437" y="263449"/>
                  <a:pt x="2495296" y="237294"/>
                  <a:pt x="2495296" y="205035"/>
                </a:cubicBezTo>
                <a:cubicBezTo>
                  <a:pt x="2495296" y="172775"/>
                  <a:pt x="2521437" y="146620"/>
                  <a:pt x="2553710" y="146620"/>
                </a:cubicBezTo>
                <a:cubicBezTo>
                  <a:pt x="2585984" y="146620"/>
                  <a:pt x="2612124" y="172775"/>
                  <a:pt x="2612124" y="205035"/>
                </a:cubicBezTo>
                <a:cubicBezTo>
                  <a:pt x="2612124" y="237294"/>
                  <a:pt x="2585984" y="263449"/>
                  <a:pt x="2553710" y="26344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0" name="Google Shape;180;p4"/>
          <p:cNvSpPr/>
          <p:nvPr/>
        </p:nvSpPr>
        <p:spPr>
          <a:xfrm>
            <a:off x="7532424" y="4673387"/>
            <a:ext cx="88744" cy="88744"/>
          </a:xfrm>
          <a:custGeom>
            <a:avLst/>
            <a:gdLst/>
            <a:ahLst/>
            <a:cxnLst/>
            <a:rect l="l" t="t" r="r" b="b"/>
            <a:pathLst>
              <a:path w="73602" h="73602" extrusionOk="0">
                <a:moveTo>
                  <a:pt x="73602" y="36801"/>
                </a:moveTo>
                <a:cubicBezTo>
                  <a:pt x="73602" y="57126"/>
                  <a:pt x="57126" y="73602"/>
                  <a:pt x="36801" y="73602"/>
                </a:cubicBezTo>
                <a:cubicBezTo>
                  <a:pt x="16477" y="73602"/>
                  <a:pt x="0" y="57126"/>
                  <a:pt x="0" y="36801"/>
                </a:cubicBezTo>
                <a:cubicBezTo>
                  <a:pt x="0" y="16476"/>
                  <a:pt x="16477" y="0"/>
                  <a:pt x="36801" y="0"/>
                </a:cubicBezTo>
                <a:cubicBezTo>
                  <a:pt x="57126" y="0"/>
                  <a:pt x="73602" y="16476"/>
                  <a:pt x="73602" y="3680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1" name="Google Shape;181;p4"/>
          <p:cNvSpPr/>
          <p:nvPr/>
        </p:nvSpPr>
        <p:spPr>
          <a:xfrm>
            <a:off x="4797774" y="3273135"/>
            <a:ext cx="2596166" cy="2596165"/>
          </a:xfrm>
          <a:custGeom>
            <a:avLst/>
            <a:gdLst/>
            <a:ahLst/>
            <a:cxnLst/>
            <a:rect l="l" t="t" r="r" b="b"/>
            <a:pathLst>
              <a:path w="2153224" h="2153224" extrusionOk="0">
                <a:moveTo>
                  <a:pt x="1929279" y="0"/>
                </a:moveTo>
                <a:cubicBezTo>
                  <a:pt x="2052961" y="0"/>
                  <a:pt x="2153225" y="0"/>
                  <a:pt x="2153225" y="0"/>
                </a:cubicBezTo>
                <a:lnTo>
                  <a:pt x="2153225" y="2153225"/>
                </a:lnTo>
                <a:cubicBezTo>
                  <a:pt x="2153225" y="2153225"/>
                  <a:pt x="2052961" y="2153225"/>
                  <a:pt x="1929279" y="2153225"/>
                </a:cubicBezTo>
                <a:lnTo>
                  <a:pt x="223946" y="2153225"/>
                </a:lnTo>
                <a:cubicBezTo>
                  <a:pt x="100264" y="2153225"/>
                  <a:pt x="0" y="2153225"/>
                  <a:pt x="0" y="2153225"/>
                </a:cubicBezTo>
                <a:lnTo>
                  <a:pt x="0" y="0"/>
                </a:lnTo>
                <a:cubicBezTo>
                  <a:pt x="0" y="0"/>
                  <a:pt x="100264" y="0"/>
                  <a:pt x="22394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2" name="Google Shape;182;p4"/>
          <p:cNvSpPr/>
          <p:nvPr/>
        </p:nvSpPr>
        <p:spPr>
          <a:xfrm>
            <a:off x="8510959" y="3050313"/>
            <a:ext cx="1409496" cy="1280343"/>
          </a:xfrm>
          <a:custGeom>
            <a:avLst/>
            <a:gdLst/>
            <a:ahLst/>
            <a:cxnLst/>
            <a:rect l="l" t="t" r="r" b="b"/>
            <a:pathLst>
              <a:path w="1169016" h="1061899" extrusionOk="0">
                <a:moveTo>
                  <a:pt x="394864" y="-507"/>
                </a:moveTo>
                <a:cubicBezTo>
                  <a:pt x="176687" y="-463"/>
                  <a:pt x="-163" y="176415"/>
                  <a:pt x="-163" y="394593"/>
                </a:cubicBezTo>
                <a:lnTo>
                  <a:pt x="-163" y="1041896"/>
                </a:lnTo>
                <a:cubicBezTo>
                  <a:pt x="-163" y="1052666"/>
                  <a:pt x="8599" y="1061392"/>
                  <a:pt x="19333" y="1061392"/>
                </a:cubicBezTo>
                <a:cubicBezTo>
                  <a:pt x="30067" y="1061392"/>
                  <a:pt x="38829" y="1052666"/>
                  <a:pt x="38829" y="1041896"/>
                </a:cubicBezTo>
                <a:lnTo>
                  <a:pt x="38829" y="394593"/>
                </a:lnTo>
                <a:cubicBezTo>
                  <a:pt x="38829" y="197963"/>
                  <a:pt x="198226" y="38557"/>
                  <a:pt x="394864" y="38557"/>
                </a:cubicBezTo>
                <a:lnTo>
                  <a:pt x="1168854" y="38557"/>
                </a:lnTo>
                <a:lnTo>
                  <a:pt x="1168854" y="-507"/>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3" name="Google Shape;183;p4"/>
          <p:cNvSpPr/>
          <p:nvPr/>
        </p:nvSpPr>
        <p:spPr>
          <a:xfrm>
            <a:off x="11451972" y="4811872"/>
            <a:ext cx="88744" cy="88744"/>
          </a:xfrm>
          <a:custGeom>
            <a:avLst/>
            <a:gdLst/>
            <a:ahLst/>
            <a:cxnLst/>
            <a:rect l="l" t="t" r="r" b="b"/>
            <a:pathLst>
              <a:path w="73602" h="73602" extrusionOk="0">
                <a:moveTo>
                  <a:pt x="73602" y="36801"/>
                </a:moveTo>
                <a:cubicBezTo>
                  <a:pt x="73602" y="57126"/>
                  <a:pt x="57126" y="73602"/>
                  <a:pt x="36801" y="73602"/>
                </a:cubicBezTo>
                <a:cubicBezTo>
                  <a:pt x="16476" y="73602"/>
                  <a:pt x="-1" y="57126"/>
                  <a:pt x="-1" y="36801"/>
                </a:cubicBezTo>
                <a:cubicBezTo>
                  <a:pt x="-1"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4" name="Google Shape;184;p4"/>
          <p:cNvSpPr/>
          <p:nvPr/>
        </p:nvSpPr>
        <p:spPr>
          <a:xfrm>
            <a:off x="6576116" y="1520608"/>
            <a:ext cx="3555993" cy="1671202"/>
          </a:xfrm>
          <a:custGeom>
            <a:avLst/>
            <a:gdLst/>
            <a:ahLst/>
            <a:cxnLst/>
            <a:rect l="l" t="t" r="r" b="b"/>
            <a:pathLst>
              <a:path w="2949291" h="1386072" extrusionOk="0">
                <a:moveTo>
                  <a:pt x="2871794" y="1101655"/>
                </a:moveTo>
                <a:lnTo>
                  <a:pt x="2871794" y="960657"/>
                </a:lnTo>
                <a:cubicBezTo>
                  <a:pt x="2871794" y="780639"/>
                  <a:pt x="2725832" y="634705"/>
                  <a:pt x="2545842" y="634705"/>
                </a:cubicBezTo>
                <a:lnTo>
                  <a:pt x="396196" y="634705"/>
                </a:lnTo>
                <a:cubicBezTo>
                  <a:pt x="237754" y="634742"/>
                  <a:pt x="109272" y="506333"/>
                  <a:pt x="109235" y="347891"/>
                </a:cubicBezTo>
                <a:cubicBezTo>
                  <a:pt x="109235" y="347840"/>
                  <a:pt x="109235" y="347796"/>
                  <a:pt x="109235" y="347745"/>
                </a:cubicBezTo>
                <a:lnTo>
                  <a:pt x="109235" y="266622"/>
                </a:lnTo>
                <a:cubicBezTo>
                  <a:pt x="108870" y="223965"/>
                  <a:pt x="125044" y="182827"/>
                  <a:pt x="154360" y="151838"/>
                </a:cubicBezTo>
                <a:cubicBezTo>
                  <a:pt x="188854" y="116140"/>
                  <a:pt x="187876" y="59237"/>
                  <a:pt x="152177" y="24743"/>
                </a:cubicBezTo>
                <a:cubicBezTo>
                  <a:pt x="116479" y="-9758"/>
                  <a:pt x="59576" y="-8780"/>
                  <a:pt x="25083" y="26919"/>
                </a:cubicBezTo>
                <a:cubicBezTo>
                  <a:pt x="-8279" y="61449"/>
                  <a:pt x="-8616" y="116096"/>
                  <a:pt x="24316" y="151035"/>
                </a:cubicBezTo>
                <a:cubicBezTo>
                  <a:pt x="53428" y="181330"/>
                  <a:pt x="69864" y="221614"/>
                  <a:pt x="70244" y="263628"/>
                </a:cubicBezTo>
                <a:lnTo>
                  <a:pt x="70244" y="347891"/>
                </a:lnTo>
                <a:cubicBezTo>
                  <a:pt x="70208" y="527865"/>
                  <a:pt x="216075" y="673799"/>
                  <a:pt x="396050" y="673843"/>
                </a:cubicBezTo>
                <a:cubicBezTo>
                  <a:pt x="396101" y="673843"/>
                  <a:pt x="396145" y="673843"/>
                  <a:pt x="396196" y="673843"/>
                </a:cubicBezTo>
                <a:lnTo>
                  <a:pt x="2545842" y="673843"/>
                </a:lnTo>
                <a:cubicBezTo>
                  <a:pt x="2704292" y="673843"/>
                  <a:pt x="2832803" y="802318"/>
                  <a:pt x="2832803" y="960803"/>
                </a:cubicBezTo>
                <a:lnTo>
                  <a:pt x="2832803" y="1098150"/>
                </a:lnTo>
                <a:cubicBezTo>
                  <a:pt x="2833169" y="1143144"/>
                  <a:pt x="2815425" y="1186385"/>
                  <a:pt x="2783516" y="1218119"/>
                </a:cubicBezTo>
                <a:cubicBezTo>
                  <a:pt x="2744889" y="1255701"/>
                  <a:pt x="2744086" y="1317466"/>
                  <a:pt x="2781691" y="1356064"/>
                </a:cubicBezTo>
                <a:cubicBezTo>
                  <a:pt x="2819295" y="1394668"/>
                  <a:pt x="2880995" y="1395494"/>
                  <a:pt x="2919622" y="1357904"/>
                </a:cubicBezTo>
                <a:cubicBezTo>
                  <a:pt x="2958248" y="1320321"/>
                  <a:pt x="2959051" y="1258563"/>
                  <a:pt x="2921447" y="1219958"/>
                </a:cubicBezTo>
                <a:cubicBezTo>
                  <a:pt x="2920863" y="1219338"/>
                  <a:pt x="2920278" y="1218724"/>
                  <a:pt x="2919622" y="1218119"/>
                </a:cubicBezTo>
                <a:cubicBezTo>
                  <a:pt x="2888662" y="1187312"/>
                  <a:pt x="2871430" y="1145327"/>
                  <a:pt x="2871794" y="1101655"/>
                </a:cubicBezTo>
                <a:close/>
                <a:moveTo>
                  <a:pt x="38700" y="89262"/>
                </a:moveTo>
                <a:cubicBezTo>
                  <a:pt x="38700" y="61033"/>
                  <a:pt x="61584" y="38149"/>
                  <a:pt x="89813" y="38149"/>
                </a:cubicBezTo>
                <a:cubicBezTo>
                  <a:pt x="118041" y="38149"/>
                  <a:pt x="140925" y="61033"/>
                  <a:pt x="140925" y="89262"/>
                </a:cubicBezTo>
                <a:cubicBezTo>
                  <a:pt x="140925" y="117491"/>
                  <a:pt x="118041" y="140374"/>
                  <a:pt x="89813" y="140374"/>
                </a:cubicBezTo>
                <a:cubicBezTo>
                  <a:pt x="61642" y="140294"/>
                  <a:pt x="38846" y="117432"/>
                  <a:pt x="38846" y="89262"/>
                </a:cubicBezTo>
                <a:close/>
                <a:moveTo>
                  <a:pt x="2851350" y="1346265"/>
                </a:moveTo>
                <a:cubicBezTo>
                  <a:pt x="2819076" y="1346265"/>
                  <a:pt x="2792936" y="1320110"/>
                  <a:pt x="2792936" y="1287851"/>
                </a:cubicBezTo>
                <a:cubicBezTo>
                  <a:pt x="2792936" y="1255591"/>
                  <a:pt x="2819076" y="1229436"/>
                  <a:pt x="2851350" y="1229436"/>
                </a:cubicBezTo>
                <a:cubicBezTo>
                  <a:pt x="2883623" y="1229436"/>
                  <a:pt x="2909764" y="1255591"/>
                  <a:pt x="2909764" y="1287851"/>
                </a:cubicBezTo>
                <a:cubicBezTo>
                  <a:pt x="2909764" y="1320051"/>
                  <a:pt x="2883696" y="1346184"/>
                  <a:pt x="2851496" y="134626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5" name="Google Shape;185;p4"/>
          <p:cNvSpPr/>
          <p:nvPr/>
        </p:nvSpPr>
        <p:spPr>
          <a:xfrm>
            <a:off x="9970110" y="3029535"/>
            <a:ext cx="88744" cy="88744"/>
          </a:xfrm>
          <a:custGeom>
            <a:avLst/>
            <a:gdLst/>
            <a:ahLst/>
            <a:cxnLst/>
            <a:rect l="l" t="t" r="r" b="b"/>
            <a:pathLst>
              <a:path w="73602" h="73602" extrusionOk="0">
                <a:moveTo>
                  <a:pt x="73602" y="36801"/>
                </a:moveTo>
                <a:cubicBezTo>
                  <a:pt x="73602" y="57126"/>
                  <a:pt x="57126" y="73602"/>
                  <a:pt x="36801" y="73602"/>
                </a:cubicBezTo>
                <a:cubicBezTo>
                  <a:pt x="16476" y="73602"/>
                  <a:pt x="0" y="57126"/>
                  <a:pt x="0" y="36801"/>
                </a:cubicBezTo>
                <a:cubicBezTo>
                  <a:pt x="0"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6" name="Google Shape;186;p4"/>
          <p:cNvSpPr/>
          <p:nvPr/>
        </p:nvSpPr>
        <p:spPr>
          <a:xfrm>
            <a:off x="10108417" y="3050313"/>
            <a:ext cx="1411346" cy="1011824"/>
          </a:xfrm>
          <a:custGeom>
            <a:avLst/>
            <a:gdLst/>
            <a:ahLst/>
            <a:cxnLst/>
            <a:rect l="l" t="t" r="r" b="b"/>
            <a:pathLst>
              <a:path w="1170550" h="839194" extrusionOk="0">
                <a:moveTo>
                  <a:pt x="775360" y="-507"/>
                </a:moveTo>
                <a:lnTo>
                  <a:pt x="-163" y="-507"/>
                </a:lnTo>
                <a:lnTo>
                  <a:pt x="-163" y="38557"/>
                </a:lnTo>
                <a:lnTo>
                  <a:pt x="775360" y="38557"/>
                </a:lnTo>
                <a:cubicBezTo>
                  <a:pt x="971998" y="38557"/>
                  <a:pt x="1131396" y="197963"/>
                  <a:pt x="1131396" y="394593"/>
                </a:cubicBezTo>
                <a:lnTo>
                  <a:pt x="1131396" y="819192"/>
                </a:lnTo>
                <a:cubicBezTo>
                  <a:pt x="1131396" y="829962"/>
                  <a:pt x="1140158" y="838687"/>
                  <a:pt x="1150892" y="838687"/>
                </a:cubicBezTo>
                <a:cubicBezTo>
                  <a:pt x="1161625" y="838687"/>
                  <a:pt x="1170388" y="829962"/>
                  <a:pt x="1170388" y="819192"/>
                </a:cubicBezTo>
                <a:lnTo>
                  <a:pt x="1170388" y="394593"/>
                </a:lnTo>
                <a:cubicBezTo>
                  <a:pt x="1170388" y="176415"/>
                  <a:pt x="993538" y="-463"/>
                  <a:pt x="775360" y="-50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7" name="Google Shape;187;p4"/>
          <p:cNvSpPr/>
          <p:nvPr/>
        </p:nvSpPr>
        <p:spPr>
          <a:xfrm>
            <a:off x="11378637" y="4201475"/>
            <a:ext cx="235238" cy="292226"/>
          </a:xfrm>
          <a:custGeom>
            <a:avLst/>
            <a:gdLst/>
            <a:ahLst/>
            <a:cxnLst/>
            <a:rect l="l" t="t" r="r" b="b"/>
            <a:pathLst>
              <a:path w="195103" h="242368" extrusionOk="0">
                <a:moveTo>
                  <a:pt x="194941" y="97140"/>
                </a:moveTo>
                <a:cubicBezTo>
                  <a:pt x="195014" y="43260"/>
                  <a:pt x="151350" y="-456"/>
                  <a:pt x="97462" y="-507"/>
                </a:cubicBezTo>
                <a:cubicBezTo>
                  <a:pt x="43575" y="-558"/>
                  <a:pt x="-89" y="43070"/>
                  <a:pt x="-163" y="96950"/>
                </a:cubicBezTo>
                <a:cubicBezTo>
                  <a:pt x="-163" y="131955"/>
                  <a:pt x="18530" y="164294"/>
                  <a:pt x="48905" y="181694"/>
                </a:cubicBezTo>
                <a:cubicBezTo>
                  <a:pt x="66867" y="191764"/>
                  <a:pt x="78039" y="210697"/>
                  <a:pt x="78112" y="231274"/>
                </a:cubicBezTo>
                <a:lnTo>
                  <a:pt x="78112" y="241861"/>
                </a:lnTo>
                <a:lnTo>
                  <a:pt x="117104" y="241861"/>
                </a:lnTo>
                <a:lnTo>
                  <a:pt x="117104" y="231274"/>
                </a:lnTo>
                <a:cubicBezTo>
                  <a:pt x="116958" y="210960"/>
                  <a:pt x="127838" y="192165"/>
                  <a:pt x="145435" y="182059"/>
                </a:cubicBezTo>
                <a:cubicBezTo>
                  <a:pt x="176030" y="164740"/>
                  <a:pt x="194941" y="132298"/>
                  <a:pt x="194941" y="97140"/>
                </a:cubicBezTo>
                <a:close/>
                <a:moveTo>
                  <a:pt x="97389" y="155554"/>
                </a:moveTo>
                <a:cubicBezTo>
                  <a:pt x="65115" y="155554"/>
                  <a:pt x="38975" y="129399"/>
                  <a:pt x="38975" y="97140"/>
                </a:cubicBezTo>
                <a:cubicBezTo>
                  <a:pt x="38975" y="64881"/>
                  <a:pt x="65115" y="38726"/>
                  <a:pt x="97389" y="38726"/>
                </a:cubicBezTo>
                <a:cubicBezTo>
                  <a:pt x="129663" y="38726"/>
                  <a:pt x="155804" y="64881"/>
                  <a:pt x="155804" y="97140"/>
                </a:cubicBezTo>
                <a:cubicBezTo>
                  <a:pt x="155877" y="129399"/>
                  <a:pt x="129737" y="155583"/>
                  <a:pt x="97462" y="155627"/>
                </a:cubicBezTo>
                <a:cubicBezTo>
                  <a:pt x="97462" y="155627"/>
                  <a:pt x="97389" y="155627"/>
                  <a:pt x="97389" y="15562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8" name="Google Shape;188;p4"/>
          <p:cNvSpPr/>
          <p:nvPr/>
        </p:nvSpPr>
        <p:spPr>
          <a:xfrm>
            <a:off x="11452675" y="4275538"/>
            <a:ext cx="88041" cy="88039"/>
          </a:xfrm>
          <a:custGeom>
            <a:avLst/>
            <a:gdLst/>
            <a:ahLst/>
            <a:cxnLst/>
            <a:rect l="l" t="t" r="r" b="b"/>
            <a:pathLst>
              <a:path w="73020" h="73019" extrusionOk="0">
                <a:moveTo>
                  <a:pt x="35983" y="72513"/>
                </a:moveTo>
                <a:cubicBezTo>
                  <a:pt x="15830" y="72308"/>
                  <a:pt x="-380" y="55806"/>
                  <a:pt x="-160" y="35639"/>
                </a:cubicBezTo>
                <a:cubicBezTo>
                  <a:pt x="58" y="15478"/>
                  <a:pt x="16560" y="-702"/>
                  <a:pt x="36713" y="-505"/>
                </a:cubicBezTo>
                <a:cubicBezTo>
                  <a:pt x="56720" y="-301"/>
                  <a:pt x="72858" y="15982"/>
                  <a:pt x="72858" y="36004"/>
                </a:cubicBezTo>
                <a:cubicBezTo>
                  <a:pt x="72858" y="56164"/>
                  <a:pt x="56502" y="72513"/>
                  <a:pt x="36349" y="72513"/>
                </a:cubicBezTo>
                <a:cubicBezTo>
                  <a:pt x="36202" y="72513"/>
                  <a:pt x="36129" y="72513"/>
                  <a:pt x="35983" y="7251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9" name="Google Shape;189;p4"/>
          <p:cNvSpPr/>
          <p:nvPr/>
        </p:nvSpPr>
        <p:spPr>
          <a:xfrm>
            <a:off x="11378637" y="4469902"/>
            <a:ext cx="235238" cy="292314"/>
          </a:xfrm>
          <a:custGeom>
            <a:avLst/>
            <a:gdLst/>
            <a:ahLst/>
            <a:cxnLst/>
            <a:rect l="l" t="t" r="r" b="b"/>
            <a:pathLst>
              <a:path w="195103" h="242441" extrusionOk="0">
                <a:moveTo>
                  <a:pt x="194941" y="97213"/>
                </a:moveTo>
                <a:cubicBezTo>
                  <a:pt x="195014" y="43333"/>
                  <a:pt x="151423" y="-412"/>
                  <a:pt x="97536" y="-507"/>
                </a:cubicBezTo>
                <a:cubicBezTo>
                  <a:pt x="43648" y="-602"/>
                  <a:pt x="-89" y="42997"/>
                  <a:pt x="-162" y="96877"/>
                </a:cubicBezTo>
                <a:cubicBezTo>
                  <a:pt x="-235" y="131911"/>
                  <a:pt x="18530" y="164287"/>
                  <a:pt x="48905" y="181695"/>
                </a:cubicBezTo>
                <a:cubicBezTo>
                  <a:pt x="66868" y="191808"/>
                  <a:pt x="77966" y="210756"/>
                  <a:pt x="78113" y="231347"/>
                </a:cubicBezTo>
                <a:lnTo>
                  <a:pt x="78113" y="241934"/>
                </a:lnTo>
                <a:lnTo>
                  <a:pt x="117104" y="241934"/>
                </a:lnTo>
                <a:lnTo>
                  <a:pt x="117104" y="231347"/>
                </a:lnTo>
                <a:cubicBezTo>
                  <a:pt x="117032" y="211048"/>
                  <a:pt x="127838" y="192260"/>
                  <a:pt x="145435" y="182133"/>
                </a:cubicBezTo>
                <a:cubicBezTo>
                  <a:pt x="176030" y="164813"/>
                  <a:pt x="194941" y="132371"/>
                  <a:pt x="194941" y="97213"/>
                </a:cubicBezTo>
                <a:close/>
                <a:moveTo>
                  <a:pt x="97389" y="155628"/>
                </a:moveTo>
                <a:cubicBezTo>
                  <a:pt x="65115" y="155628"/>
                  <a:pt x="38975" y="129472"/>
                  <a:pt x="38975" y="97213"/>
                </a:cubicBezTo>
                <a:cubicBezTo>
                  <a:pt x="38975" y="64954"/>
                  <a:pt x="65115" y="38799"/>
                  <a:pt x="97389" y="38799"/>
                </a:cubicBezTo>
                <a:cubicBezTo>
                  <a:pt x="129664" y="38799"/>
                  <a:pt x="155804" y="64954"/>
                  <a:pt x="155804" y="97213"/>
                </a:cubicBezTo>
                <a:cubicBezTo>
                  <a:pt x="155877" y="129472"/>
                  <a:pt x="129737" y="155657"/>
                  <a:pt x="97463" y="155700"/>
                </a:cubicBezTo>
                <a:cubicBezTo>
                  <a:pt x="97463" y="155700"/>
                  <a:pt x="97389" y="155700"/>
                  <a:pt x="97389" y="15570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0" name="Google Shape;190;p4"/>
          <p:cNvSpPr/>
          <p:nvPr/>
        </p:nvSpPr>
        <p:spPr>
          <a:xfrm>
            <a:off x="11451972" y="4543353"/>
            <a:ext cx="88744" cy="88744"/>
          </a:xfrm>
          <a:custGeom>
            <a:avLst/>
            <a:gdLst/>
            <a:ahLst/>
            <a:cxnLst/>
            <a:rect l="l" t="t" r="r" b="b"/>
            <a:pathLst>
              <a:path w="73602" h="73602" extrusionOk="0">
                <a:moveTo>
                  <a:pt x="73602" y="36801"/>
                </a:moveTo>
                <a:cubicBezTo>
                  <a:pt x="73602" y="57126"/>
                  <a:pt x="57126" y="73602"/>
                  <a:pt x="36801" y="73602"/>
                </a:cubicBezTo>
                <a:cubicBezTo>
                  <a:pt x="16476" y="73602"/>
                  <a:pt x="-1" y="57126"/>
                  <a:pt x="-1" y="36801"/>
                </a:cubicBezTo>
                <a:cubicBezTo>
                  <a:pt x="-1"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1" name="Google Shape;191;p4"/>
          <p:cNvSpPr/>
          <p:nvPr/>
        </p:nvSpPr>
        <p:spPr>
          <a:xfrm>
            <a:off x="8417231" y="4470299"/>
            <a:ext cx="3196644" cy="1621826"/>
          </a:xfrm>
          <a:custGeom>
            <a:avLst/>
            <a:gdLst/>
            <a:ahLst/>
            <a:cxnLst/>
            <a:rect l="l" t="t" r="r" b="b"/>
            <a:pathLst>
              <a:path w="2651253" h="1345120" extrusionOk="0">
                <a:moveTo>
                  <a:pt x="2651091" y="319589"/>
                </a:moveTo>
                <a:cubicBezTo>
                  <a:pt x="2651164" y="265709"/>
                  <a:pt x="2607572" y="221963"/>
                  <a:pt x="2553685" y="221868"/>
                </a:cubicBezTo>
                <a:cubicBezTo>
                  <a:pt x="2499798" y="221773"/>
                  <a:pt x="2456060" y="265373"/>
                  <a:pt x="2455987" y="319253"/>
                </a:cubicBezTo>
                <a:cubicBezTo>
                  <a:pt x="2455914" y="354286"/>
                  <a:pt x="2474679" y="386663"/>
                  <a:pt x="2505055" y="404070"/>
                </a:cubicBezTo>
                <a:cubicBezTo>
                  <a:pt x="2523017" y="414183"/>
                  <a:pt x="2534116" y="433131"/>
                  <a:pt x="2534262" y="453723"/>
                </a:cubicBezTo>
                <a:lnTo>
                  <a:pt x="2534262" y="949587"/>
                </a:lnTo>
                <a:cubicBezTo>
                  <a:pt x="2534262" y="1146217"/>
                  <a:pt x="2374864" y="1305622"/>
                  <a:pt x="2178227" y="1305622"/>
                </a:cubicBezTo>
                <a:lnTo>
                  <a:pt x="472602" y="1305622"/>
                </a:lnTo>
                <a:cubicBezTo>
                  <a:pt x="275964" y="1305622"/>
                  <a:pt x="116567" y="1146217"/>
                  <a:pt x="116567" y="949587"/>
                </a:cubicBezTo>
                <a:lnTo>
                  <a:pt x="116567" y="231018"/>
                </a:lnTo>
                <a:cubicBezTo>
                  <a:pt x="116713" y="210427"/>
                  <a:pt x="127812" y="191478"/>
                  <a:pt x="145774" y="181365"/>
                </a:cubicBezTo>
                <a:cubicBezTo>
                  <a:pt x="192432" y="154561"/>
                  <a:pt x="208496" y="95015"/>
                  <a:pt x="181699" y="48378"/>
                </a:cubicBezTo>
                <a:cubicBezTo>
                  <a:pt x="154901" y="1734"/>
                  <a:pt x="95318" y="-14344"/>
                  <a:pt x="48660" y="12468"/>
                </a:cubicBezTo>
                <a:cubicBezTo>
                  <a:pt x="2074" y="39273"/>
                  <a:pt x="-13990" y="98819"/>
                  <a:pt x="12808" y="145455"/>
                </a:cubicBezTo>
                <a:cubicBezTo>
                  <a:pt x="21497" y="160650"/>
                  <a:pt x="34202" y="173209"/>
                  <a:pt x="49463" y="181804"/>
                </a:cubicBezTo>
                <a:cubicBezTo>
                  <a:pt x="67060" y="191909"/>
                  <a:pt x="77940" y="210704"/>
                  <a:pt x="77794" y="231018"/>
                </a:cubicBezTo>
                <a:lnTo>
                  <a:pt x="77794" y="949587"/>
                </a:lnTo>
                <a:cubicBezTo>
                  <a:pt x="77794" y="1167757"/>
                  <a:pt x="254644" y="1344613"/>
                  <a:pt x="472821" y="1344613"/>
                </a:cubicBezTo>
                <a:lnTo>
                  <a:pt x="2178227" y="1344613"/>
                </a:lnTo>
                <a:cubicBezTo>
                  <a:pt x="2396404" y="1344613"/>
                  <a:pt x="2573253" y="1167757"/>
                  <a:pt x="2573253" y="949587"/>
                </a:cubicBezTo>
                <a:lnTo>
                  <a:pt x="2573253" y="453723"/>
                </a:lnTo>
                <a:cubicBezTo>
                  <a:pt x="2573181" y="433423"/>
                  <a:pt x="2583988" y="414636"/>
                  <a:pt x="2601584" y="404508"/>
                </a:cubicBezTo>
                <a:cubicBezTo>
                  <a:pt x="2632179" y="387189"/>
                  <a:pt x="2651091" y="354746"/>
                  <a:pt x="2651091" y="319589"/>
                </a:cubicBezTo>
                <a:close/>
                <a:moveTo>
                  <a:pt x="38583" y="96884"/>
                </a:moveTo>
                <a:cubicBezTo>
                  <a:pt x="38583" y="64625"/>
                  <a:pt x="64724" y="38470"/>
                  <a:pt x="96997" y="38470"/>
                </a:cubicBezTo>
                <a:cubicBezTo>
                  <a:pt x="129272" y="38470"/>
                  <a:pt x="155412" y="64625"/>
                  <a:pt x="155412" y="96884"/>
                </a:cubicBezTo>
                <a:cubicBezTo>
                  <a:pt x="155412" y="129143"/>
                  <a:pt x="129272" y="155298"/>
                  <a:pt x="96997" y="155298"/>
                </a:cubicBezTo>
                <a:cubicBezTo>
                  <a:pt x="64724" y="155298"/>
                  <a:pt x="38583" y="129143"/>
                  <a:pt x="38583" y="96884"/>
                </a:cubicBezTo>
                <a:close/>
                <a:moveTo>
                  <a:pt x="2553539" y="378076"/>
                </a:moveTo>
                <a:cubicBezTo>
                  <a:pt x="2521265" y="378076"/>
                  <a:pt x="2495125" y="351921"/>
                  <a:pt x="2495125" y="319661"/>
                </a:cubicBezTo>
                <a:cubicBezTo>
                  <a:pt x="2495125" y="287402"/>
                  <a:pt x="2521265" y="261247"/>
                  <a:pt x="2553539" y="261247"/>
                </a:cubicBezTo>
                <a:cubicBezTo>
                  <a:pt x="2585813" y="261247"/>
                  <a:pt x="2611953" y="287402"/>
                  <a:pt x="2611953" y="319661"/>
                </a:cubicBezTo>
                <a:cubicBezTo>
                  <a:pt x="2611953" y="351921"/>
                  <a:pt x="2585813" y="378076"/>
                  <a:pt x="2553539" y="37807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2" name="Google Shape;192;p4"/>
          <p:cNvSpPr/>
          <p:nvPr/>
        </p:nvSpPr>
        <p:spPr>
          <a:xfrm>
            <a:off x="8716604" y="3273135"/>
            <a:ext cx="2596166" cy="2596165"/>
          </a:xfrm>
          <a:custGeom>
            <a:avLst/>
            <a:gdLst/>
            <a:ahLst/>
            <a:cxnLst/>
            <a:rect l="l" t="t" r="r" b="b"/>
            <a:pathLst>
              <a:path w="2153224" h="2153224" extrusionOk="0">
                <a:moveTo>
                  <a:pt x="1929279" y="0"/>
                </a:moveTo>
                <a:cubicBezTo>
                  <a:pt x="2052961" y="0"/>
                  <a:pt x="2153225" y="0"/>
                  <a:pt x="2153225" y="0"/>
                </a:cubicBezTo>
                <a:lnTo>
                  <a:pt x="2153225" y="2153225"/>
                </a:lnTo>
                <a:cubicBezTo>
                  <a:pt x="2153225" y="2153225"/>
                  <a:pt x="2052961" y="2153225"/>
                  <a:pt x="1929279" y="2153225"/>
                </a:cubicBezTo>
                <a:lnTo>
                  <a:pt x="223946" y="2153225"/>
                </a:lnTo>
                <a:cubicBezTo>
                  <a:pt x="100263" y="2153225"/>
                  <a:pt x="0" y="2153225"/>
                  <a:pt x="0" y="2153225"/>
                </a:cubicBezTo>
                <a:lnTo>
                  <a:pt x="0" y="0"/>
                </a:lnTo>
                <a:cubicBezTo>
                  <a:pt x="0" y="0"/>
                  <a:pt x="100263" y="0"/>
                  <a:pt x="22394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3" name="Google Shape;193;p4"/>
          <p:cNvSpPr txBox="1"/>
          <p:nvPr/>
        </p:nvSpPr>
        <p:spPr>
          <a:xfrm>
            <a:off x="1015918" y="3913898"/>
            <a:ext cx="2315640" cy="181588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Support conformity assessment schemes which reduces risk for businesses, regulators and the consumer by ensuring that accredited services can be relied upon</a:t>
            </a:r>
            <a:endParaRPr sz="1600" b="0" i="0" u="none" strike="noStrike" cap="none">
              <a:solidFill>
                <a:schemeClr val="accent1"/>
              </a:solidFill>
              <a:latin typeface="Poppins"/>
              <a:ea typeface="Poppins"/>
              <a:cs typeface="Poppins"/>
              <a:sym typeface="Poppins"/>
            </a:endParaRPr>
          </a:p>
        </p:txBody>
      </p:sp>
      <p:sp>
        <p:nvSpPr>
          <p:cNvPr id="194" name="Google Shape;194;p4"/>
          <p:cNvSpPr txBox="1"/>
          <p:nvPr/>
        </p:nvSpPr>
        <p:spPr>
          <a:xfrm>
            <a:off x="4920480" y="3913898"/>
            <a:ext cx="2350754" cy="116955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Government and regulators relying on the Arrangements to further develop or enhance trade agreements</a:t>
            </a:r>
            <a:endParaRPr sz="1600" b="0" i="0" u="none" strike="noStrike" cap="none">
              <a:solidFill>
                <a:schemeClr val="accent1"/>
              </a:solidFill>
              <a:latin typeface="Poppins"/>
              <a:ea typeface="Poppins"/>
              <a:cs typeface="Poppins"/>
              <a:sym typeface="Poppins"/>
            </a:endParaRPr>
          </a:p>
        </p:txBody>
      </p:sp>
      <p:sp>
        <p:nvSpPr>
          <p:cNvPr id="195" name="Google Shape;195;p4"/>
          <p:cNvSpPr txBox="1"/>
          <p:nvPr/>
        </p:nvSpPr>
        <p:spPr>
          <a:xfrm>
            <a:off x="8839310" y="3913898"/>
            <a:ext cx="2350754" cy="138499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To support world trade by eliminating technical barriers, realising the free-trade goal of </a:t>
            </a:r>
            <a:r>
              <a:rPr lang="en-US" sz="1400" b="1" i="1" u="none" strike="noStrike" cap="none">
                <a:solidFill>
                  <a:schemeClr val="dk1"/>
                </a:solidFill>
                <a:latin typeface="Poppins"/>
                <a:ea typeface="Poppins"/>
                <a:cs typeface="Poppins"/>
                <a:sym typeface="Poppins"/>
              </a:rPr>
              <a:t>‘accredited once and accepted everywhere’</a:t>
            </a:r>
            <a:endParaRPr sz="1600" b="1" i="1" u="none" strike="noStrike" cap="none">
              <a:solidFill>
                <a:schemeClr val="accent1"/>
              </a:solidFill>
              <a:latin typeface="Poppins"/>
              <a:ea typeface="Poppins"/>
              <a:cs typeface="Poppins"/>
              <a:sym typeface="Poppins"/>
            </a:endParaRPr>
          </a:p>
        </p:txBody>
      </p:sp>
      <p:pic>
        <p:nvPicPr>
          <p:cNvPr id="196" name="Google Shape;196;p4"/>
          <p:cNvPicPr preferRelativeResize="0"/>
          <p:nvPr/>
        </p:nvPicPr>
        <p:blipFill rotWithShape="1">
          <a:blip r:embed="rId3">
            <a:alphaModFix/>
          </a:blip>
          <a:srcRect/>
          <a:stretch/>
        </p:blipFill>
        <p:spPr>
          <a:xfrm>
            <a:off x="1946031" y="3373283"/>
            <a:ext cx="455414" cy="457200"/>
          </a:xfrm>
          <a:prstGeom prst="rect">
            <a:avLst/>
          </a:prstGeom>
          <a:noFill/>
          <a:ln>
            <a:noFill/>
          </a:ln>
        </p:spPr>
      </p:pic>
      <p:pic>
        <p:nvPicPr>
          <p:cNvPr id="197" name="Google Shape;197;p4"/>
          <p:cNvPicPr preferRelativeResize="0"/>
          <p:nvPr/>
        </p:nvPicPr>
        <p:blipFill rotWithShape="1">
          <a:blip r:embed="rId4">
            <a:alphaModFix/>
          </a:blip>
          <a:srcRect/>
          <a:stretch/>
        </p:blipFill>
        <p:spPr>
          <a:xfrm>
            <a:off x="5867257" y="3373283"/>
            <a:ext cx="457200" cy="457200"/>
          </a:xfrm>
          <a:prstGeom prst="rect">
            <a:avLst/>
          </a:prstGeom>
          <a:noFill/>
          <a:ln>
            <a:noFill/>
          </a:ln>
        </p:spPr>
      </p:pic>
      <p:pic>
        <p:nvPicPr>
          <p:cNvPr id="198" name="Google Shape;198;p4"/>
          <p:cNvPicPr preferRelativeResize="0"/>
          <p:nvPr/>
        </p:nvPicPr>
        <p:blipFill rotWithShape="1">
          <a:blip r:embed="rId5">
            <a:alphaModFix/>
          </a:blip>
          <a:srcRect/>
          <a:stretch/>
        </p:blipFill>
        <p:spPr>
          <a:xfrm>
            <a:off x="9786087" y="3373283"/>
            <a:ext cx="457200" cy="457200"/>
          </a:xfrm>
          <a:prstGeom prst="rect">
            <a:avLst/>
          </a:prstGeom>
          <a:noFill/>
          <a:ln>
            <a:noFill/>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765"/>
        <p:cNvGrpSpPr/>
        <p:nvPr/>
      </p:nvGrpSpPr>
      <p:grpSpPr>
        <a:xfrm>
          <a:off x="0" y="0"/>
          <a:ext cx="0" cy="0"/>
          <a:chOff x="0" y="0"/>
          <a:chExt cx="0" cy="0"/>
        </a:xfrm>
      </p:grpSpPr>
      <p:sp>
        <p:nvSpPr>
          <p:cNvPr id="1766" name="Google Shape;1766;p39"/>
          <p:cNvSpPr/>
          <p:nvPr/>
        </p:nvSpPr>
        <p:spPr>
          <a:xfrm>
            <a:off x="213361" y="955964"/>
            <a:ext cx="8509726" cy="4787252"/>
          </a:xfrm>
          <a:prstGeom prst="roundRect">
            <a:avLst>
              <a:gd name="adj" fmla="val 4504"/>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1767" name="Google Shape;1767;p39"/>
          <p:cNvGrpSpPr/>
          <p:nvPr/>
        </p:nvGrpSpPr>
        <p:grpSpPr>
          <a:xfrm>
            <a:off x="381000" y="1152834"/>
            <a:ext cx="7474632" cy="4425550"/>
            <a:chOff x="381000" y="1152835"/>
            <a:chExt cx="7474632" cy="4425550"/>
          </a:xfrm>
        </p:grpSpPr>
        <p:sp>
          <p:nvSpPr>
            <p:cNvPr id="1768" name="Google Shape;1768;p39"/>
            <p:cNvSpPr txBox="1"/>
            <p:nvPr/>
          </p:nvSpPr>
          <p:spPr>
            <a:xfrm>
              <a:off x="381000" y="1152835"/>
              <a:ext cx="747463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lt1"/>
                  </a:solidFill>
                  <a:latin typeface="Poppins"/>
                  <a:ea typeface="Poppins"/>
                  <a:cs typeface="Poppins"/>
                  <a:sym typeface="Poppins"/>
                </a:rPr>
                <a:t>SOURCES OF FURTHER INFORMATION</a:t>
              </a:r>
              <a:endParaRPr sz="1400" b="0" i="0" u="none" strike="noStrike" cap="none">
                <a:solidFill>
                  <a:srgbClr val="000000"/>
                </a:solidFill>
                <a:latin typeface="Arial"/>
                <a:ea typeface="Arial"/>
                <a:cs typeface="Arial"/>
                <a:sym typeface="Arial"/>
              </a:endParaRPr>
            </a:p>
          </p:txBody>
        </p:sp>
        <p:cxnSp>
          <p:nvCxnSpPr>
            <p:cNvPr id="1769" name="Google Shape;1769;p39"/>
            <p:cNvCxnSpPr/>
            <p:nvPr/>
          </p:nvCxnSpPr>
          <p:spPr>
            <a:xfrm>
              <a:off x="485775" y="1746395"/>
              <a:ext cx="1132764" cy="0"/>
            </a:xfrm>
            <a:prstGeom prst="straightConnector1">
              <a:avLst/>
            </a:prstGeom>
            <a:noFill/>
            <a:ln w="19050" cap="flat" cmpd="sng">
              <a:solidFill>
                <a:schemeClr val="lt1"/>
              </a:solidFill>
              <a:prstDash val="solid"/>
              <a:miter lim="800000"/>
              <a:headEnd type="none" w="sm" len="sm"/>
              <a:tailEnd type="none" w="sm" len="sm"/>
            </a:ln>
          </p:spPr>
        </p:cxnSp>
        <p:sp>
          <p:nvSpPr>
            <p:cNvPr id="1770" name="Google Shape;1770;p39"/>
            <p:cNvSpPr txBox="1"/>
            <p:nvPr/>
          </p:nvSpPr>
          <p:spPr>
            <a:xfrm>
              <a:off x="381000" y="1911227"/>
              <a:ext cx="7315200" cy="3667158"/>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lt1"/>
                  </a:solidFill>
                  <a:latin typeface="Poppins"/>
                  <a:ea typeface="Poppins"/>
                  <a:cs typeface="Poppins"/>
                  <a:sym typeface="Poppins"/>
                </a:rPr>
                <a:t>To remain up-to-date with developments, the following sources of information are available:</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LAC News – published twice a year </a:t>
              </a:r>
              <a:r>
                <a:rPr lang="en-US" sz="1200" b="1" i="0" u="none" strike="noStrike" cap="none">
                  <a:solidFill>
                    <a:schemeClr val="lt1"/>
                  </a:solidFill>
                  <a:latin typeface="Poppins"/>
                  <a:ea typeface="Poppins"/>
                  <a:cs typeface="Poppins"/>
                  <a:sym typeface="Poppins"/>
                </a:rPr>
                <a:t>http://ilac.org/news-and-events/ilac-newsletter/</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AF Outlook – published three times a year </a:t>
              </a:r>
              <a:r>
                <a:rPr lang="en-US" sz="1200" b="1" i="0" u="none" strike="noStrike" cap="none">
                  <a:solidFill>
                    <a:schemeClr val="lt1"/>
                  </a:solidFill>
                  <a:latin typeface="Poppins"/>
                  <a:ea typeface="Poppins"/>
                  <a:cs typeface="Poppins"/>
                  <a:sym typeface="Poppins"/>
                </a:rPr>
                <a:t>http://www.iaf.new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LAC and IAF Intranets – The members only areas of the websites contain valuable information for members, including access to meeting papers, ballots, technical documents, guidance notes, and promotional tools. Contact the Secretariats for access. </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Subscribe to the latest IAF updates – </a:t>
              </a:r>
              <a:r>
                <a:rPr lang="en-US" sz="1200" b="1" i="0" u="none" strike="noStrike" cap="none">
                  <a:solidFill>
                    <a:schemeClr val="lt1"/>
                  </a:solidFill>
                  <a:latin typeface="Poppins"/>
                  <a:ea typeface="Poppins"/>
                  <a:cs typeface="Poppins"/>
                  <a:sym typeface="Poppins"/>
                </a:rPr>
                <a:t>https://bit.ly/2SdgR4x</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Subscribe to the latest ILAC updates –</a:t>
              </a:r>
              <a:r>
                <a:rPr lang="en-US" sz="1200" b="1" i="0" u="none" strike="noStrike" cap="none">
                  <a:solidFill>
                    <a:schemeClr val="lt1"/>
                  </a:solidFill>
                  <a:latin typeface="Poppins"/>
                  <a:ea typeface="Poppins"/>
                  <a:cs typeface="Poppins"/>
                  <a:sym typeface="Poppins"/>
                </a:rPr>
                <a:t> http://ilac.org/latest_ilac_new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LAC and IAF Publications – a wide range of publications are available to download from:</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1" i="0" u="none" strike="noStrike" cap="none">
                  <a:solidFill>
                    <a:schemeClr val="lt1"/>
                  </a:solidFill>
                  <a:latin typeface="Poppins"/>
                  <a:ea typeface="Poppins"/>
                  <a:cs typeface="Poppins"/>
                  <a:sym typeface="Poppins"/>
                </a:rPr>
                <a:t>http://ilac.org/publications-and-resource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1" i="0" u="none" strike="noStrike" cap="none">
                  <a:solidFill>
                    <a:schemeClr val="lt1"/>
                  </a:solidFill>
                  <a:latin typeface="Poppins"/>
                  <a:ea typeface="Poppins"/>
                  <a:cs typeface="Poppins"/>
                  <a:sym typeface="Poppins"/>
                </a:rPr>
                <a:t>https://iaf.nu/en/iaf-documents-categorie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Annual Reports – ILAC and IAF publish an Annual report each year that sets out the key developments and status of the MRA / MLA.</a:t>
              </a:r>
              <a:endParaRPr sz="1400" b="0" i="0" u="none" strike="noStrike" cap="none">
                <a:solidFill>
                  <a:srgbClr val="000000"/>
                </a:solidFill>
                <a:latin typeface="Arial"/>
                <a:ea typeface="Arial"/>
                <a:cs typeface="Arial"/>
                <a:sym typeface="Arial"/>
              </a:endParaRPr>
            </a:p>
          </p:txBody>
        </p:sp>
      </p:grpSp>
      <p:pic>
        <p:nvPicPr>
          <p:cNvPr id="1771" name="Google Shape;1771;p39"/>
          <p:cNvPicPr preferRelativeResize="0">
            <a:picLocks noGrp="1"/>
          </p:cNvPicPr>
          <p:nvPr>
            <p:ph type="pic" idx="2"/>
          </p:nvPr>
        </p:nvPicPr>
        <p:blipFill rotWithShape="1">
          <a:blip r:embed="rId3">
            <a:alphaModFix/>
          </a:blip>
          <a:srcRect l="32774" r="32773"/>
          <a:stretch/>
        </p:blipFill>
        <p:spPr>
          <a:xfrm>
            <a:off x="8382000" y="955964"/>
            <a:ext cx="3324225" cy="4787251"/>
          </a:xfrm>
          <a:prstGeom prst="rect">
            <a:avLst/>
          </a:prstGeom>
          <a:noFill/>
          <a:ln>
            <a:noFill/>
          </a:ln>
          <a:effectLst>
            <a:outerShdw blurRad="190500" sx="102000" sy="102000" algn="ctr" rotWithShape="0">
              <a:srgbClr val="000000">
                <a:alpha val="20000"/>
              </a:srgbClr>
            </a:outerShdw>
          </a:effec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776"/>
        <p:cNvGrpSpPr/>
        <p:nvPr/>
      </p:nvGrpSpPr>
      <p:grpSpPr>
        <a:xfrm>
          <a:off x="0" y="0"/>
          <a:ext cx="0" cy="0"/>
          <a:chOff x="0" y="0"/>
          <a:chExt cx="0" cy="0"/>
        </a:xfrm>
      </p:grpSpPr>
      <p:sp>
        <p:nvSpPr>
          <p:cNvPr id="1777" name="Google Shape;1777;p40"/>
          <p:cNvSpPr/>
          <p:nvPr/>
        </p:nvSpPr>
        <p:spPr>
          <a:xfrm>
            <a:off x="1" y="666750"/>
            <a:ext cx="5527151" cy="6191250"/>
          </a:xfrm>
          <a:custGeom>
            <a:avLst/>
            <a:gdLst/>
            <a:ahLst/>
            <a:cxnLst/>
            <a:rect l="l" t="t" r="r" b="b"/>
            <a:pathLst>
              <a:path w="5527151" h="6191250" extrusionOk="0">
                <a:moveTo>
                  <a:pt x="2060051" y="0"/>
                </a:moveTo>
                <a:cubicBezTo>
                  <a:pt x="3974877" y="0"/>
                  <a:pt x="5527151" y="1552274"/>
                  <a:pt x="5527151" y="3467100"/>
                </a:cubicBezTo>
                <a:cubicBezTo>
                  <a:pt x="5527151" y="4544190"/>
                  <a:pt x="5036002" y="5506566"/>
                  <a:pt x="4265449" y="6142483"/>
                </a:cubicBezTo>
                <a:lnTo>
                  <a:pt x="4200233" y="6191250"/>
                </a:lnTo>
                <a:lnTo>
                  <a:pt x="0" y="6191250"/>
                </a:lnTo>
                <a:lnTo>
                  <a:pt x="0" y="683029"/>
                </a:lnTo>
                <a:lnTo>
                  <a:pt x="121563" y="592127"/>
                </a:lnTo>
                <a:cubicBezTo>
                  <a:pt x="674916" y="218289"/>
                  <a:pt x="1341992" y="0"/>
                  <a:pt x="2060051"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778" name="Google Shape;1778;p40" descr="A picture containing text, indoor&#10;&#10;Description automatically generated"/>
          <p:cNvPicPr preferRelativeResize="0">
            <a:picLocks noGrp="1"/>
          </p:cNvPicPr>
          <p:nvPr>
            <p:ph type="pic" idx="2"/>
          </p:nvPr>
        </p:nvPicPr>
        <p:blipFill rotWithShape="1">
          <a:blip r:embed="rId3">
            <a:alphaModFix/>
          </a:blip>
          <a:srcRect l="7253" r="43144"/>
          <a:stretch/>
        </p:blipFill>
        <p:spPr>
          <a:xfrm>
            <a:off x="1" y="762000"/>
            <a:ext cx="5374752" cy="6096000"/>
          </a:xfrm>
          <a:prstGeom prst="rect">
            <a:avLst/>
          </a:prstGeom>
          <a:blipFill rotWithShape="1">
            <a:blip r:embed="rId4">
              <a:alphaModFix/>
            </a:blip>
            <a:tile tx="0" ty="0" sx="100000" sy="100000" flip="none" algn="tl"/>
          </a:blipFill>
          <a:ln>
            <a:noFill/>
          </a:ln>
        </p:spPr>
      </p:pic>
      <p:sp>
        <p:nvSpPr>
          <p:cNvPr id="1779" name="Google Shape;1779;p40"/>
          <p:cNvSpPr/>
          <p:nvPr/>
        </p:nvSpPr>
        <p:spPr>
          <a:xfrm flipH="1">
            <a:off x="4294277" y="1528540"/>
            <a:ext cx="1291830" cy="129183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80" name="Google Shape;1780;p40"/>
          <p:cNvSpPr/>
          <p:nvPr/>
        </p:nvSpPr>
        <p:spPr>
          <a:xfrm flipH="1">
            <a:off x="4377135" y="1611398"/>
            <a:ext cx="1126114" cy="1126114"/>
          </a:xfrm>
          <a:prstGeom prst="ellipse">
            <a:avLst/>
          </a:prstGeom>
          <a:no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81" name="Google Shape;1781;p40"/>
          <p:cNvSpPr txBox="1"/>
          <p:nvPr/>
        </p:nvSpPr>
        <p:spPr>
          <a:xfrm>
            <a:off x="6976441" y="724737"/>
            <a:ext cx="40292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CONTACT DETAILS</a:t>
            </a:r>
            <a:endParaRPr sz="1400" b="0" i="0" u="none" strike="noStrike" cap="none">
              <a:solidFill>
                <a:srgbClr val="000000"/>
              </a:solidFill>
              <a:latin typeface="Arial"/>
              <a:ea typeface="Arial"/>
              <a:cs typeface="Arial"/>
              <a:sym typeface="Arial"/>
            </a:endParaRPr>
          </a:p>
        </p:txBody>
      </p:sp>
      <p:cxnSp>
        <p:nvCxnSpPr>
          <p:cNvPr id="1782" name="Google Shape;1782;p40"/>
          <p:cNvCxnSpPr/>
          <p:nvPr/>
        </p:nvCxnSpPr>
        <p:spPr>
          <a:xfrm>
            <a:off x="8424671" y="1312508"/>
            <a:ext cx="1132764" cy="0"/>
          </a:xfrm>
          <a:prstGeom prst="straightConnector1">
            <a:avLst/>
          </a:prstGeom>
          <a:noFill/>
          <a:ln w="19050" cap="flat" cmpd="sng">
            <a:solidFill>
              <a:schemeClr val="accent1"/>
            </a:solidFill>
            <a:prstDash val="solid"/>
            <a:miter lim="800000"/>
            <a:headEnd type="none" w="sm" len="sm"/>
            <a:tailEnd type="none" w="sm" len="sm"/>
          </a:ln>
        </p:spPr>
      </p:cxnSp>
      <p:cxnSp>
        <p:nvCxnSpPr>
          <p:cNvPr id="1783" name="Google Shape;1783;p40"/>
          <p:cNvCxnSpPr/>
          <p:nvPr/>
        </p:nvCxnSpPr>
        <p:spPr>
          <a:xfrm>
            <a:off x="8924238" y="1696110"/>
            <a:ext cx="0" cy="3978805"/>
          </a:xfrm>
          <a:prstGeom prst="straightConnector1">
            <a:avLst/>
          </a:prstGeom>
          <a:noFill/>
          <a:ln w="9525" cap="flat" cmpd="sng">
            <a:solidFill>
              <a:srgbClr val="D8D8D8"/>
            </a:solidFill>
            <a:prstDash val="solid"/>
            <a:miter lim="800000"/>
            <a:headEnd type="none" w="sm" len="sm"/>
            <a:tailEnd type="none" w="sm" len="sm"/>
          </a:ln>
        </p:spPr>
      </p:cxnSp>
      <p:grpSp>
        <p:nvGrpSpPr>
          <p:cNvPr id="1784" name="Google Shape;1784;p40"/>
          <p:cNvGrpSpPr/>
          <p:nvPr/>
        </p:nvGrpSpPr>
        <p:grpSpPr>
          <a:xfrm>
            <a:off x="6145793" y="1714824"/>
            <a:ext cx="2130915" cy="365760"/>
            <a:chOff x="6145793" y="1714824"/>
            <a:chExt cx="2130915" cy="365760"/>
          </a:xfrm>
        </p:grpSpPr>
        <p:sp>
          <p:nvSpPr>
            <p:cNvPr id="1785" name="Google Shape;1785;p40"/>
            <p:cNvSpPr txBox="1"/>
            <p:nvPr/>
          </p:nvSpPr>
          <p:spPr>
            <a:xfrm>
              <a:off x="6660624" y="1726119"/>
              <a:ext cx="1616084"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IAF Secretariat</a:t>
              </a:r>
              <a:endParaRPr sz="1400" b="0" i="0" u="none" strike="noStrike" cap="none">
                <a:solidFill>
                  <a:srgbClr val="000000"/>
                </a:solidFill>
                <a:latin typeface="Arial"/>
                <a:ea typeface="Arial"/>
                <a:cs typeface="Arial"/>
                <a:sym typeface="Arial"/>
              </a:endParaRPr>
            </a:p>
          </p:txBody>
        </p:sp>
        <p:pic>
          <p:nvPicPr>
            <p:cNvPr id="1786" name="Google Shape;1786;p40"/>
            <p:cNvPicPr preferRelativeResize="0"/>
            <p:nvPr/>
          </p:nvPicPr>
          <p:blipFill rotWithShape="1">
            <a:blip r:embed="rId5">
              <a:alphaModFix/>
            </a:blip>
            <a:srcRect/>
            <a:stretch/>
          </p:blipFill>
          <p:spPr>
            <a:xfrm>
              <a:off x="6145793" y="1714824"/>
              <a:ext cx="274321" cy="365760"/>
            </a:xfrm>
            <a:prstGeom prst="rect">
              <a:avLst/>
            </a:prstGeom>
            <a:noFill/>
            <a:ln>
              <a:noFill/>
            </a:ln>
          </p:spPr>
        </p:pic>
      </p:grpSp>
      <p:grpSp>
        <p:nvGrpSpPr>
          <p:cNvPr id="1787" name="Google Shape;1787;p40"/>
          <p:cNvGrpSpPr/>
          <p:nvPr/>
        </p:nvGrpSpPr>
        <p:grpSpPr>
          <a:xfrm>
            <a:off x="6100073" y="2437880"/>
            <a:ext cx="2176635" cy="380586"/>
            <a:chOff x="6100073" y="2430474"/>
            <a:chExt cx="2176635" cy="380586"/>
          </a:xfrm>
        </p:grpSpPr>
        <p:sp>
          <p:nvSpPr>
            <p:cNvPr id="1788" name="Google Shape;1788;p40"/>
            <p:cNvSpPr txBox="1"/>
            <p:nvPr/>
          </p:nvSpPr>
          <p:spPr>
            <a:xfrm>
              <a:off x="6660624" y="2441769"/>
              <a:ext cx="1616084" cy="36929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CA" sz="1200" b="0" i="0" u="none" strike="noStrike" cap="none">
                  <a:solidFill>
                    <a:srgbClr val="000000"/>
                  </a:solidFill>
                  <a:latin typeface="Arial"/>
                  <a:ea typeface="Arial"/>
                  <a:cs typeface="Arial"/>
                  <a:sym typeface="Arial"/>
                </a:rPr>
                <a:t>+1 (571) 569-1242</a:t>
              </a:r>
              <a:endParaRPr sz="1200" b="0" i="0" u="none" strike="noStrike" cap="none">
                <a:solidFill>
                  <a:srgbClr val="000000"/>
                </a:solidFill>
                <a:latin typeface="Arial"/>
                <a:ea typeface="Arial"/>
                <a:cs typeface="Arial"/>
                <a:sym typeface="Arial"/>
              </a:endParaRPr>
            </a:p>
          </p:txBody>
        </p:sp>
        <p:pic>
          <p:nvPicPr>
            <p:cNvPr id="1789" name="Google Shape;1789;p40"/>
            <p:cNvPicPr preferRelativeResize="0"/>
            <p:nvPr/>
          </p:nvPicPr>
          <p:blipFill rotWithShape="1">
            <a:blip r:embed="rId6">
              <a:alphaModFix/>
            </a:blip>
            <a:srcRect/>
            <a:stretch/>
          </p:blipFill>
          <p:spPr>
            <a:xfrm>
              <a:off x="6100073" y="2430474"/>
              <a:ext cx="365760" cy="365760"/>
            </a:xfrm>
            <a:prstGeom prst="rect">
              <a:avLst/>
            </a:prstGeom>
            <a:noFill/>
            <a:ln>
              <a:noFill/>
            </a:ln>
          </p:spPr>
        </p:pic>
      </p:grpSp>
      <p:grpSp>
        <p:nvGrpSpPr>
          <p:cNvPr id="1790" name="Google Shape;1790;p40"/>
          <p:cNvGrpSpPr/>
          <p:nvPr/>
        </p:nvGrpSpPr>
        <p:grpSpPr>
          <a:xfrm>
            <a:off x="6120076" y="3160936"/>
            <a:ext cx="2156632" cy="365760"/>
            <a:chOff x="6120076" y="3146124"/>
            <a:chExt cx="2156632" cy="365760"/>
          </a:xfrm>
        </p:grpSpPr>
        <p:sp>
          <p:nvSpPr>
            <p:cNvPr id="1791" name="Google Shape;1791;p40"/>
            <p:cNvSpPr txBox="1"/>
            <p:nvPr/>
          </p:nvSpPr>
          <p:spPr>
            <a:xfrm>
              <a:off x="6660624" y="3157419"/>
              <a:ext cx="1616084"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Secretary@iaf.nu</a:t>
              </a:r>
              <a:endParaRPr sz="1400" b="0" i="0" u="none" strike="noStrike" cap="none">
                <a:solidFill>
                  <a:srgbClr val="000000"/>
                </a:solidFill>
                <a:latin typeface="Arial"/>
                <a:ea typeface="Arial"/>
                <a:cs typeface="Arial"/>
                <a:sym typeface="Arial"/>
              </a:endParaRPr>
            </a:p>
          </p:txBody>
        </p:sp>
        <p:pic>
          <p:nvPicPr>
            <p:cNvPr id="1792" name="Google Shape;1792;p40"/>
            <p:cNvPicPr preferRelativeResize="0"/>
            <p:nvPr/>
          </p:nvPicPr>
          <p:blipFill rotWithShape="1">
            <a:blip r:embed="rId7">
              <a:alphaModFix/>
            </a:blip>
            <a:srcRect/>
            <a:stretch/>
          </p:blipFill>
          <p:spPr>
            <a:xfrm>
              <a:off x="6120076" y="3146124"/>
              <a:ext cx="325754" cy="365760"/>
            </a:xfrm>
            <a:prstGeom prst="rect">
              <a:avLst/>
            </a:prstGeom>
            <a:noFill/>
            <a:ln>
              <a:noFill/>
            </a:ln>
          </p:spPr>
        </p:pic>
      </p:grpSp>
      <p:sp>
        <p:nvSpPr>
          <p:cNvPr id="1794" name="Google Shape;1794;p40"/>
          <p:cNvSpPr txBox="1"/>
          <p:nvPr/>
        </p:nvSpPr>
        <p:spPr>
          <a:xfrm>
            <a:off x="6660624" y="3883992"/>
            <a:ext cx="1616084"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_Global</a:t>
            </a:r>
            <a:endParaRPr sz="1200" b="0" i="0" u="none" strike="noStrike" cap="none">
              <a:solidFill>
                <a:schemeClr val="dk1"/>
              </a:solidFill>
              <a:latin typeface="Poppins"/>
              <a:ea typeface="Poppins"/>
              <a:cs typeface="Poppins"/>
              <a:sym typeface="Poppins"/>
            </a:endParaRPr>
          </a:p>
        </p:txBody>
      </p:sp>
      <p:grpSp>
        <p:nvGrpSpPr>
          <p:cNvPr id="1796" name="Google Shape;1796;p40"/>
          <p:cNvGrpSpPr/>
          <p:nvPr/>
        </p:nvGrpSpPr>
        <p:grpSpPr>
          <a:xfrm>
            <a:off x="6120076" y="4568946"/>
            <a:ext cx="2612493" cy="461624"/>
            <a:chOff x="6120076" y="4568946"/>
            <a:chExt cx="2612493" cy="461624"/>
          </a:xfrm>
        </p:grpSpPr>
        <p:sp>
          <p:nvSpPr>
            <p:cNvPr id="1797" name="Google Shape;1797;p40"/>
            <p:cNvSpPr txBox="1"/>
            <p:nvPr/>
          </p:nvSpPr>
          <p:spPr>
            <a:xfrm>
              <a:off x="6660624" y="4568946"/>
              <a:ext cx="2071945"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accreditation-forum-inc</a:t>
              </a:r>
              <a:endParaRPr sz="1200" b="0" i="0" u="none" strike="noStrike" cap="none">
                <a:solidFill>
                  <a:schemeClr val="dk1"/>
                </a:solidFill>
                <a:latin typeface="Poppins"/>
                <a:ea typeface="Poppins"/>
                <a:cs typeface="Poppins"/>
                <a:sym typeface="Poppins"/>
              </a:endParaRPr>
            </a:p>
          </p:txBody>
        </p:sp>
        <p:pic>
          <p:nvPicPr>
            <p:cNvPr id="1798" name="Google Shape;1798;p40"/>
            <p:cNvPicPr preferRelativeResize="0"/>
            <p:nvPr/>
          </p:nvPicPr>
          <p:blipFill rotWithShape="1">
            <a:blip r:embed="rId8">
              <a:alphaModFix/>
            </a:blip>
            <a:srcRect/>
            <a:stretch/>
          </p:blipFill>
          <p:spPr>
            <a:xfrm>
              <a:off x="6120076" y="4625335"/>
              <a:ext cx="325754" cy="320664"/>
            </a:xfrm>
            <a:prstGeom prst="rect">
              <a:avLst/>
            </a:prstGeom>
            <a:noFill/>
            <a:ln>
              <a:noFill/>
            </a:ln>
          </p:spPr>
        </p:pic>
      </p:grpSp>
      <p:grpSp>
        <p:nvGrpSpPr>
          <p:cNvPr id="1799" name="Google Shape;1799;p40"/>
          <p:cNvGrpSpPr/>
          <p:nvPr/>
        </p:nvGrpSpPr>
        <p:grpSpPr>
          <a:xfrm>
            <a:off x="6067197" y="5366388"/>
            <a:ext cx="2822426" cy="311834"/>
            <a:chOff x="6067197" y="5366388"/>
            <a:chExt cx="2822426" cy="311834"/>
          </a:xfrm>
        </p:grpSpPr>
        <p:sp>
          <p:nvSpPr>
            <p:cNvPr id="1800" name="Google Shape;1800;p40"/>
            <p:cNvSpPr txBox="1"/>
            <p:nvPr/>
          </p:nvSpPr>
          <p:spPr>
            <a:xfrm>
              <a:off x="6660624" y="5383806"/>
              <a:ext cx="2228999" cy="27699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andILAC</a:t>
              </a:r>
              <a:endParaRPr sz="1200" b="0" i="0" u="none" strike="noStrike" cap="none">
                <a:solidFill>
                  <a:schemeClr val="dk1"/>
                </a:solidFill>
                <a:latin typeface="Poppins"/>
                <a:ea typeface="Poppins"/>
                <a:cs typeface="Poppins"/>
                <a:sym typeface="Poppins"/>
              </a:endParaRPr>
            </a:p>
          </p:txBody>
        </p:sp>
        <p:pic>
          <p:nvPicPr>
            <p:cNvPr id="1801" name="Google Shape;1801;p40"/>
            <p:cNvPicPr preferRelativeResize="0"/>
            <p:nvPr/>
          </p:nvPicPr>
          <p:blipFill rotWithShape="1">
            <a:blip r:embed="rId9">
              <a:alphaModFix/>
            </a:blip>
            <a:srcRect/>
            <a:stretch/>
          </p:blipFill>
          <p:spPr>
            <a:xfrm>
              <a:off x="6067197" y="5366388"/>
              <a:ext cx="431512" cy="311834"/>
            </a:xfrm>
            <a:prstGeom prst="rect">
              <a:avLst/>
            </a:prstGeom>
            <a:noFill/>
            <a:ln>
              <a:noFill/>
            </a:ln>
          </p:spPr>
        </p:pic>
      </p:grpSp>
      <p:grpSp>
        <p:nvGrpSpPr>
          <p:cNvPr id="1802" name="Google Shape;1802;p40"/>
          <p:cNvGrpSpPr/>
          <p:nvPr/>
        </p:nvGrpSpPr>
        <p:grpSpPr>
          <a:xfrm>
            <a:off x="9261185" y="1743046"/>
            <a:ext cx="2315057" cy="365760"/>
            <a:chOff x="9599852" y="1714824"/>
            <a:chExt cx="2315057" cy="365760"/>
          </a:xfrm>
        </p:grpSpPr>
        <p:sp>
          <p:nvSpPr>
            <p:cNvPr id="1803" name="Google Shape;1803;p40"/>
            <p:cNvSpPr txBox="1"/>
            <p:nvPr/>
          </p:nvSpPr>
          <p:spPr>
            <a:xfrm>
              <a:off x="10043108" y="1726119"/>
              <a:ext cx="1871801"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ILAC Secretariat</a:t>
              </a:r>
              <a:endParaRPr sz="1400" b="0" i="0" u="none" strike="noStrike" cap="none">
                <a:solidFill>
                  <a:srgbClr val="000000"/>
                </a:solidFill>
                <a:latin typeface="Arial"/>
                <a:ea typeface="Arial"/>
                <a:cs typeface="Arial"/>
                <a:sym typeface="Arial"/>
              </a:endParaRPr>
            </a:p>
          </p:txBody>
        </p:sp>
        <p:pic>
          <p:nvPicPr>
            <p:cNvPr id="1804" name="Google Shape;1804;p40"/>
            <p:cNvPicPr preferRelativeResize="0"/>
            <p:nvPr/>
          </p:nvPicPr>
          <p:blipFill rotWithShape="1">
            <a:blip r:embed="rId10">
              <a:alphaModFix/>
            </a:blip>
            <a:srcRect/>
            <a:stretch/>
          </p:blipFill>
          <p:spPr>
            <a:xfrm>
              <a:off x="9599852" y="1714824"/>
              <a:ext cx="274320" cy="365760"/>
            </a:xfrm>
            <a:prstGeom prst="rect">
              <a:avLst/>
            </a:prstGeom>
            <a:noFill/>
            <a:ln>
              <a:noFill/>
            </a:ln>
          </p:spPr>
        </p:pic>
      </p:grpSp>
      <p:grpSp>
        <p:nvGrpSpPr>
          <p:cNvPr id="1805" name="Google Shape;1805;p40"/>
          <p:cNvGrpSpPr/>
          <p:nvPr/>
        </p:nvGrpSpPr>
        <p:grpSpPr>
          <a:xfrm>
            <a:off x="9215465" y="2466102"/>
            <a:ext cx="2360777" cy="380586"/>
            <a:chOff x="9554132" y="2445286"/>
            <a:chExt cx="2360777" cy="380586"/>
          </a:xfrm>
        </p:grpSpPr>
        <p:sp>
          <p:nvSpPr>
            <p:cNvPr id="1806" name="Google Shape;1806;p40"/>
            <p:cNvSpPr txBox="1"/>
            <p:nvPr/>
          </p:nvSpPr>
          <p:spPr>
            <a:xfrm>
              <a:off x="10043108" y="2456581"/>
              <a:ext cx="1871801" cy="36929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CA" sz="1200"/>
                <a:t>+61 8 7092 2655</a:t>
              </a:r>
              <a:endParaRPr sz="1200" b="0" i="0" u="none" strike="noStrike" cap="none">
                <a:solidFill>
                  <a:srgbClr val="000000"/>
                </a:solidFill>
                <a:latin typeface="Arial"/>
                <a:ea typeface="Arial"/>
                <a:cs typeface="Arial"/>
                <a:sym typeface="Arial"/>
              </a:endParaRPr>
            </a:p>
          </p:txBody>
        </p:sp>
        <p:pic>
          <p:nvPicPr>
            <p:cNvPr id="1807" name="Google Shape;1807;p40"/>
            <p:cNvPicPr preferRelativeResize="0"/>
            <p:nvPr/>
          </p:nvPicPr>
          <p:blipFill rotWithShape="1">
            <a:blip r:embed="rId11">
              <a:alphaModFix/>
            </a:blip>
            <a:srcRect/>
            <a:stretch/>
          </p:blipFill>
          <p:spPr>
            <a:xfrm>
              <a:off x="9554132" y="2445286"/>
              <a:ext cx="365760" cy="365760"/>
            </a:xfrm>
            <a:prstGeom prst="rect">
              <a:avLst/>
            </a:prstGeom>
            <a:noFill/>
            <a:ln>
              <a:noFill/>
            </a:ln>
          </p:spPr>
        </p:pic>
      </p:grpSp>
      <p:grpSp>
        <p:nvGrpSpPr>
          <p:cNvPr id="1808" name="Google Shape;1808;p40"/>
          <p:cNvGrpSpPr/>
          <p:nvPr/>
        </p:nvGrpSpPr>
        <p:grpSpPr>
          <a:xfrm>
            <a:off x="9235468" y="3189158"/>
            <a:ext cx="2340774" cy="380586"/>
            <a:chOff x="9574135" y="3175748"/>
            <a:chExt cx="2340774" cy="380586"/>
          </a:xfrm>
        </p:grpSpPr>
        <p:sp>
          <p:nvSpPr>
            <p:cNvPr id="1809" name="Google Shape;1809;p40"/>
            <p:cNvSpPr txBox="1"/>
            <p:nvPr/>
          </p:nvSpPr>
          <p:spPr>
            <a:xfrm>
              <a:off x="10043108" y="3187043"/>
              <a:ext cx="1871801" cy="36929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secretariat@ilac.org</a:t>
              </a:r>
              <a:endParaRPr sz="1400" b="0" i="0" u="none" strike="noStrike" cap="none">
                <a:solidFill>
                  <a:srgbClr val="000000"/>
                </a:solidFill>
                <a:latin typeface="Arial"/>
                <a:ea typeface="Arial"/>
                <a:cs typeface="Arial"/>
                <a:sym typeface="Arial"/>
              </a:endParaRPr>
            </a:p>
          </p:txBody>
        </p:sp>
        <p:pic>
          <p:nvPicPr>
            <p:cNvPr id="1810" name="Google Shape;1810;p40"/>
            <p:cNvPicPr preferRelativeResize="0"/>
            <p:nvPr/>
          </p:nvPicPr>
          <p:blipFill rotWithShape="1">
            <a:blip r:embed="rId12">
              <a:alphaModFix/>
            </a:blip>
            <a:srcRect/>
            <a:stretch/>
          </p:blipFill>
          <p:spPr>
            <a:xfrm>
              <a:off x="9574135" y="3175748"/>
              <a:ext cx="325755" cy="365760"/>
            </a:xfrm>
            <a:prstGeom prst="rect">
              <a:avLst/>
            </a:prstGeom>
            <a:noFill/>
            <a:ln>
              <a:noFill/>
            </a:ln>
          </p:spPr>
        </p:pic>
      </p:grpSp>
      <p:sp>
        <p:nvSpPr>
          <p:cNvPr id="1812" name="Google Shape;1812;p40"/>
          <p:cNvSpPr txBox="1"/>
          <p:nvPr/>
        </p:nvSpPr>
        <p:spPr>
          <a:xfrm>
            <a:off x="9704441" y="3912214"/>
            <a:ext cx="1871801"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LAC_Official</a:t>
            </a:r>
            <a:endParaRPr sz="1200" b="0" i="0" u="none" strike="noStrike" cap="none">
              <a:solidFill>
                <a:schemeClr val="dk1"/>
              </a:solidFill>
              <a:latin typeface="Poppins"/>
              <a:ea typeface="Poppins"/>
              <a:cs typeface="Poppins"/>
              <a:sym typeface="Poppins"/>
            </a:endParaRPr>
          </a:p>
        </p:txBody>
      </p:sp>
      <p:grpSp>
        <p:nvGrpSpPr>
          <p:cNvPr id="1814" name="Google Shape;1814;p40"/>
          <p:cNvGrpSpPr/>
          <p:nvPr/>
        </p:nvGrpSpPr>
        <p:grpSpPr>
          <a:xfrm>
            <a:off x="9168478" y="5390193"/>
            <a:ext cx="2393653" cy="343171"/>
            <a:chOff x="9507145" y="5361971"/>
            <a:chExt cx="2393653" cy="343171"/>
          </a:xfrm>
        </p:grpSpPr>
        <p:sp>
          <p:nvSpPr>
            <p:cNvPr id="1815" name="Google Shape;1815;p40"/>
            <p:cNvSpPr txBox="1"/>
            <p:nvPr/>
          </p:nvSpPr>
          <p:spPr>
            <a:xfrm>
              <a:off x="10028997" y="5361971"/>
              <a:ext cx="1871801"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andILAC</a:t>
              </a:r>
              <a:endParaRPr sz="1200" b="0" i="0" u="none" strike="noStrike" cap="none">
                <a:solidFill>
                  <a:schemeClr val="dk1"/>
                </a:solidFill>
                <a:latin typeface="Poppins"/>
                <a:ea typeface="Poppins"/>
                <a:cs typeface="Poppins"/>
                <a:sym typeface="Poppins"/>
              </a:endParaRPr>
            </a:p>
          </p:txBody>
        </p:sp>
        <p:pic>
          <p:nvPicPr>
            <p:cNvPr id="1816" name="Google Shape;1816;p40"/>
            <p:cNvPicPr preferRelativeResize="0"/>
            <p:nvPr/>
          </p:nvPicPr>
          <p:blipFill rotWithShape="1">
            <a:blip r:embed="rId13">
              <a:alphaModFix/>
            </a:blip>
            <a:srcRect/>
            <a:stretch/>
          </p:blipFill>
          <p:spPr>
            <a:xfrm>
              <a:off x="9507145" y="5377639"/>
              <a:ext cx="431512" cy="311834"/>
            </a:xfrm>
            <a:prstGeom prst="rect">
              <a:avLst/>
            </a:prstGeom>
            <a:noFill/>
            <a:ln>
              <a:noFill/>
            </a:ln>
          </p:spPr>
        </p:pic>
      </p:grpSp>
      <p:pic>
        <p:nvPicPr>
          <p:cNvPr id="1817" name="Google Shape;1817;p40"/>
          <p:cNvPicPr preferRelativeResize="0"/>
          <p:nvPr/>
        </p:nvPicPr>
        <p:blipFill rotWithShape="1">
          <a:blip r:embed="rId14">
            <a:alphaModFix/>
          </a:blip>
          <a:srcRect/>
          <a:stretch/>
        </p:blipFill>
        <p:spPr>
          <a:xfrm>
            <a:off x="4631800" y="1866063"/>
            <a:ext cx="616784" cy="616784"/>
          </a:xfrm>
          <a:prstGeom prst="rect">
            <a:avLst/>
          </a:prstGeom>
          <a:noFill/>
          <a:ln>
            <a:noFill/>
          </a:ln>
        </p:spPr>
      </p:pic>
      <p:sp>
        <p:nvSpPr>
          <p:cNvPr id="3" name="Google Shape;1797;p40">
            <a:extLst>
              <a:ext uri="{FF2B5EF4-FFF2-40B4-BE49-F238E27FC236}">
                <a16:creationId xmlns:a16="http://schemas.microsoft.com/office/drawing/2014/main" id="{E6516085-19C6-5F2A-97BD-DA1EED1D864E}"/>
              </a:ext>
            </a:extLst>
          </p:cNvPr>
          <p:cNvSpPr txBox="1"/>
          <p:nvPr/>
        </p:nvSpPr>
        <p:spPr>
          <a:xfrm>
            <a:off x="9734024" y="4523791"/>
            <a:ext cx="1733278" cy="830956"/>
          </a:xfrm>
          <a:prstGeom prst="rect">
            <a:avLst/>
          </a:prstGeom>
          <a:noFill/>
          <a:ln>
            <a:noFill/>
          </a:ln>
        </p:spPr>
        <p:txBody>
          <a:bodyPr spcFirstLastPara="1" wrap="square" lIns="91425" tIns="45700" rIns="91425" bIns="45700" anchor="t" anchorCtr="0">
            <a:spAutoFit/>
          </a:bodyPr>
          <a:lstStyle/>
          <a:p>
            <a:r>
              <a:rPr lang="en-US" sz="1200">
                <a:solidFill>
                  <a:schemeClr val="dk1"/>
                </a:solidFill>
                <a:latin typeface="Poppins"/>
                <a:cs typeface="Poppins"/>
                <a:sym typeface="Poppins"/>
              </a:rPr>
              <a:t>International Laboratory Accreditation Co-operation (ILAC)</a:t>
            </a:r>
            <a:endParaRPr lang="en-US">
              <a:solidFill>
                <a:schemeClr val="dk1"/>
              </a:solidFill>
              <a:sym typeface="Poppins"/>
            </a:endParaRPr>
          </a:p>
        </p:txBody>
      </p:sp>
      <p:pic>
        <p:nvPicPr>
          <p:cNvPr id="5" name="Google Shape;1798;p40">
            <a:extLst>
              <a:ext uri="{FF2B5EF4-FFF2-40B4-BE49-F238E27FC236}">
                <a16:creationId xmlns:a16="http://schemas.microsoft.com/office/drawing/2014/main" id="{2937F6F5-EDB0-5606-B3F4-C18FDAA97188}"/>
              </a:ext>
            </a:extLst>
          </p:cNvPr>
          <p:cNvPicPr preferRelativeResize="0"/>
          <p:nvPr/>
        </p:nvPicPr>
        <p:blipFill rotWithShape="1">
          <a:blip r:embed="rId15">
            <a:alphaModFix/>
            <a:extLst>
              <a:ext uri="{BEBA8EAE-BF5A-486C-A8C5-ECC9F3942E4B}">
                <a14:imgProps xmlns:a14="http://schemas.microsoft.com/office/drawing/2010/main">
                  <a14:imgLayer r:embed="rId16">
                    <a14:imgEffect>
                      <a14:saturation sat="288000"/>
                    </a14:imgEffect>
                    <a14:imgEffect>
                      <a14:brightnessContrast bright="6000" contrast="13000"/>
                    </a14:imgEffect>
                  </a14:imgLayer>
                </a14:imgProps>
              </a:ext>
            </a:extLst>
          </a:blip>
          <a:srcRect/>
          <a:stretch/>
        </p:blipFill>
        <p:spPr>
          <a:xfrm>
            <a:off x="9221698" y="4678958"/>
            <a:ext cx="339865" cy="348886"/>
          </a:xfrm>
          <a:prstGeom prst="rect">
            <a:avLst/>
          </a:prstGeom>
          <a:noFill/>
          <a:ln>
            <a:noFill/>
          </a:ln>
        </p:spPr>
      </p:pic>
      <p:pic>
        <p:nvPicPr>
          <p:cNvPr id="8" name="Picture 7" descr="A blue x in a circle&#10;&#10;AI-generated content may be incorrect.">
            <a:extLst>
              <a:ext uri="{FF2B5EF4-FFF2-40B4-BE49-F238E27FC236}">
                <a16:creationId xmlns:a16="http://schemas.microsoft.com/office/drawing/2014/main" id="{5BCCD6E2-5190-926E-DAEA-C95752017C90}"/>
              </a:ext>
            </a:extLst>
          </p:cNvPr>
          <p:cNvPicPr>
            <a:picLocks noChangeAspect="1"/>
          </p:cNvPicPr>
          <p:nvPr/>
        </p:nvPicPr>
        <p:blipFill>
          <a:blip r:embed="rId17"/>
          <a:stretch>
            <a:fillRect/>
          </a:stretch>
        </p:blipFill>
        <p:spPr>
          <a:xfrm>
            <a:off x="6094817" y="3910604"/>
            <a:ext cx="381000" cy="371475"/>
          </a:xfrm>
          <a:prstGeom prst="rect">
            <a:avLst/>
          </a:prstGeom>
        </p:spPr>
      </p:pic>
      <p:pic>
        <p:nvPicPr>
          <p:cNvPr id="9" name="Picture 8" descr="A blue x in a circle&#10;&#10;AI-generated content may be incorrect.">
            <a:extLst>
              <a:ext uri="{FF2B5EF4-FFF2-40B4-BE49-F238E27FC236}">
                <a16:creationId xmlns:a16="http://schemas.microsoft.com/office/drawing/2014/main" id="{E0C3DBFF-4871-BA89-5773-6A04DE96334D}"/>
              </a:ext>
            </a:extLst>
          </p:cNvPr>
          <p:cNvPicPr>
            <a:picLocks noChangeAspect="1"/>
          </p:cNvPicPr>
          <p:nvPr/>
        </p:nvPicPr>
        <p:blipFill>
          <a:blip r:embed="rId18">
            <a:extLst>
              <a:ext uri="{BEBA8EAE-BF5A-486C-A8C5-ECC9F3942E4B}">
                <a14:imgProps xmlns:a14="http://schemas.microsoft.com/office/drawing/2010/main">
                  <a14:imgLayer r:embed="rId19">
                    <a14:imgEffect>
                      <a14:saturation sat="200000"/>
                    </a14:imgEffect>
                    <a14:imgEffect>
                      <a14:brightnessContrast bright="27000" contrast="40000"/>
                    </a14:imgEffect>
                  </a14:imgLayer>
                </a14:imgProps>
              </a:ext>
            </a:extLst>
          </a:blip>
          <a:stretch>
            <a:fillRect/>
          </a:stretch>
        </p:blipFill>
        <p:spPr>
          <a:xfrm>
            <a:off x="9213810" y="3910603"/>
            <a:ext cx="381000" cy="37147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
        <p:nvSpPr>
          <p:cNvPr id="204" name="Google Shape;204;p5"/>
          <p:cNvSpPr/>
          <p:nvPr/>
        </p:nvSpPr>
        <p:spPr>
          <a:xfrm>
            <a:off x="6521534" y="0"/>
            <a:ext cx="5670466" cy="6858000"/>
          </a:xfrm>
          <a:custGeom>
            <a:avLst/>
            <a:gdLst/>
            <a:ahLst/>
            <a:cxnLst/>
            <a:rect l="l" t="t" r="r" b="b"/>
            <a:pathLst>
              <a:path w="5670466" h="6858000" extrusionOk="0">
                <a:moveTo>
                  <a:pt x="50180" y="0"/>
                </a:moveTo>
                <a:lnTo>
                  <a:pt x="5670466" y="0"/>
                </a:lnTo>
                <a:lnTo>
                  <a:pt x="5670466" y="6858000"/>
                </a:lnTo>
                <a:lnTo>
                  <a:pt x="0" y="6858000"/>
                </a:lnTo>
                <a:lnTo>
                  <a:pt x="27855" y="6757729"/>
                </a:lnTo>
                <a:cubicBezTo>
                  <a:pt x="204406" y="6153140"/>
                  <a:pt x="421916" y="5559574"/>
                  <a:pt x="554195" y="4941314"/>
                </a:cubicBezTo>
                <a:cubicBezTo>
                  <a:pt x="898848" y="3310284"/>
                  <a:pt x="610101" y="1608430"/>
                  <a:pt x="59940" y="27075"/>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05" name="Google Shape;205;p5"/>
          <p:cNvSpPr/>
          <p:nvPr/>
        </p:nvSpPr>
        <p:spPr>
          <a:xfrm>
            <a:off x="5619752" y="0"/>
            <a:ext cx="6572249" cy="6858000"/>
          </a:xfrm>
          <a:custGeom>
            <a:avLst/>
            <a:gdLst/>
            <a:ahLst/>
            <a:cxnLst/>
            <a:rect l="l" t="t" r="r" b="b"/>
            <a:pathLst>
              <a:path w="6572249" h="6858000" extrusionOk="0">
                <a:moveTo>
                  <a:pt x="1620246" y="0"/>
                </a:moveTo>
                <a:lnTo>
                  <a:pt x="6572249" y="0"/>
                </a:lnTo>
                <a:lnTo>
                  <a:pt x="6572249" y="6858000"/>
                </a:lnTo>
                <a:lnTo>
                  <a:pt x="1620246" y="6858000"/>
                </a:lnTo>
                <a:lnTo>
                  <a:pt x="1615256" y="6854079"/>
                </a:lnTo>
                <a:cubicBezTo>
                  <a:pt x="628778" y="6039965"/>
                  <a:pt x="0" y="4807912"/>
                  <a:pt x="0" y="3429000"/>
                </a:cubicBezTo>
                <a:cubicBezTo>
                  <a:pt x="0" y="2050088"/>
                  <a:pt x="628778" y="818036"/>
                  <a:pt x="1615256" y="392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206" name="Google Shape;206;p5" descr="A person in a lab coat&#10;&#10;Description automatically generated with medium confidence"/>
          <p:cNvPicPr preferRelativeResize="0">
            <a:picLocks noGrp="1"/>
          </p:cNvPicPr>
          <p:nvPr>
            <p:ph type="pic" idx="2"/>
          </p:nvPr>
        </p:nvPicPr>
        <p:blipFill rotWithShape="1">
          <a:blip r:embed="rId3">
            <a:alphaModFix/>
          </a:blip>
          <a:srcRect l="18815" r="18815"/>
          <a:stretch/>
        </p:blipFill>
        <p:spPr>
          <a:xfrm>
            <a:off x="5783525" y="0"/>
            <a:ext cx="6408476" cy="6858000"/>
          </a:xfrm>
          <a:prstGeom prst="rect">
            <a:avLst/>
          </a:prstGeom>
          <a:blipFill rotWithShape="1">
            <a:blip r:embed="rId4">
              <a:alphaModFix/>
            </a:blip>
            <a:tile tx="0" ty="0" sx="100000" sy="100000" flip="none" algn="tl"/>
          </a:blipFill>
          <a:ln>
            <a:noFill/>
          </a:ln>
        </p:spPr>
      </p:pic>
      <p:sp>
        <p:nvSpPr>
          <p:cNvPr id="207" name="Google Shape;207;p5"/>
          <p:cNvSpPr/>
          <p:nvPr/>
        </p:nvSpPr>
        <p:spPr>
          <a:xfrm>
            <a:off x="306223" y="2133600"/>
            <a:ext cx="6643217" cy="3027679"/>
          </a:xfrm>
          <a:prstGeom prst="roundRect">
            <a:avLst>
              <a:gd name="adj" fmla="val 5846"/>
            </a:avLst>
          </a:prstGeom>
          <a:solidFill>
            <a:schemeClr val="lt1"/>
          </a:solidFill>
          <a:ln>
            <a:noFill/>
          </a:ln>
          <a:effectLst>
            <a:outerShdw blurRad="63500"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208" name="Google Shape;208;p5"/>
          <p:cNvSpPr txBox="1"/>
          <p:nvPr/>
        </p:nvSpPr>
        <p:spPr>
          <a:xfrm>
            <a:off x="381001" y="1264496"/>
            <a:ext cx="5715000"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QUALITY INFRASTRUCTURE</a:t>
            </a:r>
            <a:endParaRPr sz="3200" b="1" i="0" u="none" strike="noStrike" cap="none">
              <a:solidFill>
                <a:schemeClr val="accent1"/>
              </a:solidFill>
              <a:latin typeface="Montserrat"/>
              <a:ea typeface="Montserrat"/>
              <a:cs typeface="Montserrat"/>
              <a:sym typeface="Montserrat"/>
            </a:endParaRPr>
          </a:p>
        </p:txBody>
      </p:sp>
      <p:sp>
        <p:nvSpPr>
          <p:cNvPr id="209" name="Google Shape;209;p5"/>
          <p:cNvSpPr txBox="1"/>
          <p:nvPr/>
        </p:nvSpPr>
        <p:spPr>
          <a:xfrm>
            <a:off x="381001" y="2476500"/>
            <a:ext cx="6140531" cy="2323713"/>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Quality Infrastructure is the system comprising the organisations, the policies, relevant legal and regulatory framework, and practices needed to support and enhance the quality, safety and environmental soundness of goods, services and processes.</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Utilising standards, metrology, accreditation and conformity assessment, this framework, supported by multilateral mutual recognition arrangements, has a positive impact on trade in the developed world and unlocks the trading potential of developing economies.</a:t>
            </a:r>
            <a:endParaRPr sz="1400" b="0" i="0" u="none" strike="noStrike" cap="none">
              <a:solidFill>
                <a:srgbClr val="000000"/>
              </a:solidFill>
              <a:latin typeface="Arial"/>
              <a:ea typeface="Arial"/>
              <a:cs typeface="Arial"/>
              <a:sym typeface="Arial"/>
            </a:endParaRPr>
          </a:p>
        </p:txBody>
      </p:sp>
      <p:cxnSp>
        <p:nvCxnSpPr>
          <p:cNvPr id="210" name="Google Shape;210;p5"/>
          <p:cNvCxnSpPr/>
          <p:nvPr/>
        </p:nvCxnSpPr>
        <p:spPr>
          <a:xfrm>
            <a:off x="499425" y="1921087"/>
            <a:ext cx="1132764" cy="0"/>
          </a:xfrm>
          <a:prstGeom prst="straightConnector1">
            <a:avLst/>
          </a:prstGeom>
          <a:noFill/>
          <a:ln w="19050" cap="flat" cmpd="sng">
            <a:solidFill>
              <a:schemeClr val="accent1"/>
            </a:solidFill>
            <a:prstDash val="solid"/>
            <a:miter lim="800000"/>
            <a:headEnd type="none" w="sm" len="sm"/>
            <a:tailEnd type="none" w="sm" len="sm"/>
          </a:ln>
        </p:spPr>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6"/>
          <p:cNvSpPr/>
          <p:nvPr/>
        </p:nvSpPr>
        <p:spPr>
          <a:xfrm>
            <a:off x="0" y="0"/>
            <a:ext cx="6170224" cy="6436084"/>
          </a:xfrm>
          <a:custGeom>
            <a:avLst/>
            <a:gdLst/>
            <a:ahLst/>
            <a:cxnLst/>
            <a:rect l="l" t="t" r="r" b="b"/>
            <a:pathLst>
              <a:path w="6170224" h="6436084" extrusionOk="0">
                <a:moveTo>
                  <a:pt x="0" y="0"/>
                </a:moveTo>
                <a:lnTo>
                  <a:pt x="5175905" y="0"/>
                </a:lnTo>
                <a:lnTo>
                  <a:pt x="5289355" y="124827"/>
                </a:lnTo>
                <a:cubicBezTo>
                  <a:pt x="5839652" y="791633"/>
                  <a:pt x="6170224" y="1646495"/>
                  <a:pt x="6170224" y="2578566"/>
                </a:cubicBezTo>
                <a:cubicBezTo>
                  <a:pt x="6170224" y="4709014"/>
                  <a:pt x="4443154" y="6436084"/>
                  <a:pt x="2312706" y="6436084"/>
                </a:cubicBezTo>
                <a:cubicBezTo>
                  <a:pt x="1513788" y="6436084"/>
                  <a:pt x="771595" y="6193215"/>
                  <a:pt x="155931" y="5777281"/>
                </a:cubicBezTo>
                <a:lnTo>
                  <a:pt x="0" y="5660678"/>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217" name="Google Shape;217;p6" descr="A picture containing outdoor, track, light, night&#10;&#10;Description automatically generated"/>
          <p:cNvPicPr preferRelativeResize="0">
            <a:picLocks noGrp="1"/>
          </p:cNvPicPr>
          <p:nvPr>
            <p:ph type="pic" idx="2"/>
          </p:nvPr>
        </p:nvPicPr>
        <p:blipFill rotWithShape="1">
          <a:blip r:embed="rId3">
            <a:alphaModFix/>
          </a:blip>
          <a:srcRect l="22885" r="22885"/>
          <a:stretch/>
        </p:blipFill>
        <p:spPr>
          <a:xfrm>
            <a:off x="1" y="0"/>
            <a:ext cx="6094025" cy="6321784"/>
          </a:xfrm>
          <a:prstGeom prst="rect">
            <a:avLst/>
          </a:prstGeom>
          <a:blipFill rotWithShape="1">
            <a:blip r:embed="rId4">
              <a:alphaModFix/>
            </a:blip>
            <a:tile tx="0" ty="0" sx="100000" sy="100000" flip="none" algn="tl"/>
          </a:blipFill>
          <a:ln>
            <a:noFill/>
          </a:ln>
        </p:spPr>
      </p:pic>
      <p:sp>
        <p:nvSpPr>
          <p:cNvPr id="218" name="Google Shape;218;p6"/>
          <p:cNvSpPr/>
          <p:nvPr/>
        </p:nvSpPr>
        <p:spPr>
          <a:xfrm>
            <a:off x="4244327" y="4804016"/>
            <a:ext cx="1291830" cy="129183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219" name="Google Shape;219;p6"/>
          <p:cNvSpPr/>
          <p:nvPr/>
        </p:nvSpPr>
        <p:spPr>
          <a:xfrm>
            <a:off x="4327185" y="4886874"/>
            <a:ext cx="1126114" cy="1126114"/>
          </a:xfrm>
          <a:prstGeom prst="ellipse">
            <a:avLst/>
          </a:prstGeom>
          <a:no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220" name="Google Shape;220;p6"/>
          <p:cNvSpPr txBox="1"/>
          <p:nvPr/>
        </p:nvSpPr>
        <p:spPr>
          <a:xfrm>
            <a:off x="6712560" y="774366"/>
            <a:ext cx="4021702"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The IAF and ILAC Arrangements</a:t>
            </a:r>
            <a:endParaRPr sz="3200" b="1" i="0" u="none" strike="noStrike" cap="none">
              <a:solidFill>
                <a:schemeClr val="accent1"/>
              </a:solidFill>
              <a:latin typeface="Montserrat"/>
              <a:ea typeface="Montserrat"/>
              <a:cs typeface="Montserrat"/>
              <a:sym typeface="Montserrat"/>
            </a:endParaRPr>
          </a:p>
        </p:txBody>
      </p:sp>
      <p:sp>
        <p:nvSpPr>
          <p:cNvPr id="221" name="Google Shape;221;p6"/>
          <p:cNvSpPr txBox="1"/>
          <p:nvPr/>
        </p:nvSpPr>
        <p:spPr>
          <a:xfrm>
            <a:off x="6712561" y="2421093"/>
            <a:ext cx="4829628" cy="3185487"/>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ccreditation body members deemed competent through a peer evaluation process</a:t>
            </a:r>
            <a:endParaRPr sz="1400" b="0" i="0" u="none" strike="noStrike" cap="none">
              <a:solidFill>
                <a:schemeClr val="dk1"/>
              </a:solidFill>
              <a:latin typeface="Arial"/>
              <a:ea typeface="Arial"/>
              <a:cs typeface="Arial"/>
              <a:sym typeface="Arial"/>
            </a:endParaRPr>
          </a:p>
          <a:p>
            <a:pPr marL="742950" marR="0" lvl="1" indent="-285750" algn="l" rtl="0">
              <a:lnSpc>
                <a:spcPct val="100000"/>
              </a:lnSpc>
              <a:spcBef>
                <a:spcPts val="600"/>
              </a:spcBef>
              <a:spcAft>
                <a:spcPts val="0"/>
              </a:spcAft>
              <a:buClr>
                <a:schemeClr val="accent1"/>
              </a:buClr>
              <a:buSzPts val="1320"/>
              <a:buFont typeface="Noto Sans Symbols"/>
              <a:buChar char="⮚"/>
            </a:pPr>
            <a:r>
              <a:rPr lang="en-US" sz="1100" b="0" i="0" u="none" strike="noStrike" cap="none">
                <a:solidFill>
                  <a:schemeClr val="dk1"/>
                </a:solidFill>
                <a:latin typeface="Poppins"/>
                <a:ea typeface="Poppins"/>
                <a:cs typeface="Poppins"/>
                <a:sym typeface="Poppins"/>
              </a:rPr>
              <a:t>ISO/IEC 17011</a:t>
            </a:r>
            <a:endParaRPr sz="1400" b="0" i="0" u="none" strike="noStrike" cap="none">
              <a:solidFill>
                <a:schemeClr val="dk1"/>
              </a:solidFill>
              <a:latin typeface="Arial"/>
              <a:ea typeface="Arial"/>
              <a:cs typeface="Arial"/>
              <a:sym typeface="Arial"/>
            </a:endParaRPr>
          </a:p>
          <a:p>
            <a:pPr marL="742950" marR="0" lvl="1" indent="-285750" algn="l" rtl="0">
              <a:lnSpc>
                <a:spcPct val="100000"/>
              </a:lnSpc>
              <a:spcBef>
                <a:spcPts val="600"/>
              </a:spcBef>
              <a:spcAft>
                <a:spcPts val="0"/>
              </a:spcAft>
              <a:buClr>
                <a:schemeClr val="accent1"/>
              </a:buClr>
              <a:buSzPts val="1320"/>
              <a:buFont typeface="Noto Sans Symbols"/>
              <a:buChar char="⮚"/>
            </a:pPr>
            <a:r>
              <a:rPr lang="en-US" sz="1100" b="0" i="0" u="none" strike="noStrike" cap="none">
                <a:solidFill>
                  <a:schemeClr val="dk1"/>
                </a:solidFill>
                <a:latin typeface="Poppins"/>
                <a:ea typeface="Poppins"/>
                <a:cs typeface="Poppins"/>
                <a:sym typeface="Poppins"/>
              </a:rPr>
              <a:t>IAF-ILAC ‘A Series’ documents</a:t>
            </a: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Signatories must </a:t>
            </a:r>
            <a:r>
              <a:rPr lang="en-US" sz="1400" b="0" i="0" u="none" strike="noStrike" cap="none" err="1">
                <a:solidFill>
                  <a:schemeClr val="dk1"/>
                </a:solidFill>
                <a:latin typeface="Poppins"/>
                <a:ea typeface="Poppins"/>
                <a:cs typeface="Poppins"/>
                <a:sym typeface="Poppins"/>
              </a:rPr>
              <a:t>recognise</a:t>
            </a:r>
            <a:r>
              <a:rPr lang="en-US" sz="1400" b="0" i="0" u="none" strike="noStrike" cap="none">
                <a:solidFill>
                  <a:schemeClr val="dk1"/>
                </a:solidFill>
                <a:latin typeface="Poppins"/>
                <a:ea typeface="Poppins"/>
                <a:cs typeface="Poppins"/>
                <a:sym typeface="Poppins"/>
              </a:rPr>
              <a:t> certificates, reports and results issued</a:t>
            </a:r>
            <a:r>
              <a:rPr lang="en-US">
                <a:solidFill>
                  <a:schemeClr val="dk1"/>
                </a:solidFill>
                <a:latin typeface="Poppins"/>
                <a:ea typeface="Poppins"/>
                <a:cs typeface="Poppins"/>
                <a:sym typeface="Poppins"/>
              </a:rPr>
              <a:t>,</a:t>
            </a:r>
            <a:r>
              <a:rPr lang="en-US" sz="1400" b="0" i="0" u="none" strike="noStrike" cap="none">
                <a:solidFill>
                  <a:schemeClr val="dk1"/>
                </a:solidFill>
                <a:latin typeface="Poppins"/>
                <a:ea typeface="Poppins"/>
                <a:cs typeface="Poppins"/>
                <a:sym typeface="Poppins"/>
              </a:rPr>
              <a:t> as well as reference materials produced and proficiency testing programs provided by </a:t>
            </a:r>
            <a:r>
              <a:rPr lang="en-US" sz="1400" b="0" i="0" u="none" strike="noStrike" cap="none" err="1">
                <a:solidFill>
                  <a:schemeClr val="dk1"/>
                </a:solidFill>
                <a:latin typeface="Poppins"/>
                <a:ea typeface="Poppins"/>
                <a:cs typeface="Poppins"/>
                <a:sym typeface="Poppins"/>
              </a:rPr>
              <a:t>organisations</a:t>
            </a:r>
            <a:r>
              <a:rPr lang="en-US" sz="1400" b="0" i="0" u="none" strike="noStrike" cap="none">
                <a:solidFill>
                  <a:schemeClr val="dk1"/>
                </a:solidFill>
                <a:latin typeface="Poppins"/>
                <a:ea typeface="Poppins"/>
                <a:cs typeface="Poppins"/>
                <a:sym typeface="Poppins"/>
              </a:rPr>
              <a:t> accredited by other signatories</a:t>
            </a:r>
            <a:endParaRPr sz="1400" b="0" i="0" u="none" strike="noStrike" cap="none">
              <a:solidFill>
                <a:schemeClr val="dk1"/>
              </a:solidFill>
              <a:latin typeface="Arial"/>
              <a:ea typeface="Arial"/>
              <a:cs typeface="Arial"/>
              <a:sym typeface="Arial"/>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Provides businesses with assurance that overseas bodies operate to the same standard</a:t>
            </a:r>
            <a:endParaRPr sz="1400" b="0" i="0" u="none" strike="noStrike" cap="none">
              <a:solidFill>
                <a:schemeClr val="dk1"/>
              </a:solidFill>
              <a:latin typeface="Arial"/>
              <a:ea typeface="Arial"/>
              <a:cs typeface="Arial"/>
              <a:sym typeface="Arial"/>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Removes technical barriers to trade by eliminating redundant conformity assessment</a:t>
            </a:r>
            <a:endParaRPr sz="1400" b="0" i="0" u="none" strike="noStrike" cap="none">
              <a:solidFill>
                <a:schemeClr val="dk1"/>
              </a:solidFill>
              <a:latin typeface="Arial"/>
              <a:ea typeface="Arial"/>
              <a:cs typeface="Arial"/>
              <a:sym typeface="Arial"/>
            </a:endParaRPr>
          </a:p>
        </p:txBody>
      </p:sp>
      <p:cxnSp>
        <p:nvCxnSpPr>
          <p:cNvPr id="222" name="Google Shape;222;p6"/>
          <p:cNvCxnSpPr/>
          <p:nvPr/>
        </p:nvCxnSpPr>
        <p:spPr>
          <a:xfrm>
            <a:off x="6830984" y="1777425"/>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223" name="Google Shape;223;p6"/>
          <p:cNvPicPr preferRelativeResize="0"/>
          <p:nvPr/>
        </p:nvPicPr>
        <p:blipFill rotWithShape="1">
          <a:blip r:embed="rId5">
            <a:alphaModFix/>
          </a:blip>
          <a:srcRect/>
          <a:stretch/>
        </p:blipFill>
        <p:spPr>
          <a:xfrm>
            <a:off x="4596511" y="5156200"/>
            <a:ext cx="587462" cy="587462"/>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27"/>
        <p:cNvGrpSpPr/>
        <p:nvPr/>
      </p:nvGrpSpPr>
      <p:grpSpPr>
        <a:xfrm>
          <a:off x="0" y="0"/>
          <a:ext cx="0" cy="0"/>
          <a:chOff x="0" y="0"/>
          <a:chExt cx="0" cy="0"/>
        </a:xfrm>
      </p:grpSpPr>
      <p:sp>
        <p:nvSpPr>
          <p:cNvPr id="228" name="Google Shape;228;p7"/>
          <p:cNvSpPr txBox="1"/>
          <p:nvPr/>
        </p:nvSpPr>
        <p:spPr>
          <a:xfrm>
            <a:off x="2271545" y="483522"/>
            <a:ext cx="764891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AND ILAC OBJECTIVES</a:t>
            </a:r>
            <a:endParaRPr sz="3200" b="1" i="0" u="none" strike="noStrike" cap="none">
              <a:solidFill>
                <a:schemeClr val="accent1"/>
              </a:solidFill>
              <a:latin typeface="Montserrat"/>
              <a:ea typeface="Montserrat"/>
              <a:cs typeface="Montserrat"/>
              <a:sym typeface="Montserrat"/>
            </a:endParaRPr>
          </a:p>
        </p:txBody>
      </p:sp>
      <p:cxnSp>
        <p:nvCxnSpPr>
          <p:cNvPr id="229" name="Google Shape;229;p7"/>
          <p:cNvCxnSpPr/>
          <p:nvPr/>
        </p:nvCxnSpPr>
        <p:spPr>
          <a:xfrm>
            <a:off x="5529618" y="1140113"/>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230" name="Google Shape;230;p7"/>
          <p:cNvSpPr txBox="1"/>
          <p:nvPr/>
        </p:nvSpPr>
        <p:spPr>
          <a:xfrm>
            <a:off x="2271545" y="1273485"/>
            <a:ext cx="764891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IAF and ILAC are global networks of accreditation bodies and organisations involved in conformity assessment activities. Objectives include:</a:t>
            </a:r>
            <a:endParaRPr sz="1400" b="0" i="0" u="none" strike="noStrike" cap="none">
              <a:solidFill>
                <a:srgbClr val="000000"/>
              </a:solidFill>
              <a:latin typeface="Arial"/>
              <a:ea typeface="Arial"/>
              <a:cs typeface="Arial"/>
              <a:sym typeface="Arial"/>
            </a:endParaRPr>
          </a:p>
        </p:txBody>
      </p:sp>
      <p:grpSp>
        <p:nvGrpSpPr>
          <p:cNvPr id="231" name="Google Shape;231;p7"/>
          <p:cNvGrpSpPr/>
          <p:nvPr/>
        </p:nvGrpSpPr>
        <p:grpSpPr>
          <a:xfrm>
            <a:off x="8688510" y="4818102"/>
            <a:ext cx="732758" cy="220841"/>
            <a:chOff x="8908391" y="4923513"/>
            <a:chExt cx="813135" cy="245066"/>
          </a:xfrm>
        </p:grpSpPr>
        <p:sp>
          <p:nvSpPr>
            <p:cNvPr id="232" name="Google Shape;232;p7"/>
            <p:cNvSpPr/>
            <p:nvPr/>
          </p:nvSpPr>
          <p:spPr>
            <a:xfrm rot="-3554673">
              <a:off x="8914958" y="4922876"/>
              <a:ext cx="10652" cy="21341"/>
            </a:xfrm>
            <a:custGeom>
              <a:avLst/>
              <a:gdLst/>
              <a:ahLst/>
              <a:cxnLst/>
              <a:rect l="l" t="t" r="r" b="b"/>
              <a:pathLst>
                <a:path w="10652" h="21341" extrusionOk="0">
                  <a:moveTo>
                    <a:pt x="0" y="0"/>
                  </a:moveTo>
                  <a:lnTo>
                    <a:pt x="10652" y="0"/>
                  </a:lnTo>
                  <a:lnTo>
                    <a:pt x="10652" y="21341"/>
                  </a:lnTo>
                  <a:lnTo>
                    <a:pt x="0" y="21341"/>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3" name="Google Shape;233;p7"/>
            <p:cNvSpPr/>
            <p:nvPr/>
          </p:nvSpPr>
          <p:spPr>
            <a:xfrm>
              <a:off x="8964145" y="4957059"/>
              <a:ext cx="692462" cy="211520"/>
            </a:xfrm>
            <a:custGeom>
              <a:avLst/>
              <a:gdLst/>
              <a:ahLst/>
              <a:cxnLst/>
              <a:rect l="l" t="t" r="r" b="b"/>
              <a:pathLst>
                <a:path w="692462" h="211520" extrusionOk="0">
                  <a:moveTo>
                    <a:pt x="340326" y="211521"/>
                  </a:moveTo>
                  <a:lnTo>
                    <a:pt x="338767" y="210760"/>
                  </a:lnTo>
                  <a:lnTo>
                    <a:pt x="301340" y="188478"/>
                  </a:lnTo>
                  <a:lnTo>
                    <a:pt x="306811" y="179311"/>
                  </a:lnTo>
                  <a:lnTo>
                    <a:pt x="344238" y="201594"/>
                  </a:lnTo>
                  <a:lnTo>
                    <a:pt x="341630" y="205978"/>
                  </a:lnTo>
                  <a:lnTo>
                    <a:pt x="341847" y="211521"/>
                  </a:lnTo>
                  <a:lnTo>
                    <a:pt x="340326" y="211521"/>
                  </a:lnTo>
                  <a:close/>
                  <a:moveTo>
                    <a:pt x="385652" y="210905"/>
                  </a:moveTo>
                  <a:lnTo>
                    <a:pt x="385506" y="200253"/>
                  </a:lnTo>
                  <a:lnTo>
                    <a:pt x="429347" y="199673"/>
                  </a:lnTo>
                  <a:lnTo>
                    <a:pt x="429492" y="210325"/>
                  </a:lnTo>
                  <a:lnTo>
                    <a:pt x="385652" y="210905"/>
                  </a:lnTo>
                  <a:close/>
                  <a:moveTo>
                    <a:pt x="473332" y="209746"/>
                  </a:moveTo>
                  <a:lnTo>
                    <a:pt x="473187" y="199094"/>
                  </a:lnTo>
                  <a:lnTo>
                    <a:pt x="517028" y="198514"/>
                  </a:lnTo>
                  <a:lnTo>
                    <a:pt x="517173" y="209166"/>
                  </a:lnTo>
                  <a:lnTo>
                    <a:pt x="473332" y="209746"/>
                  </a:lnTo>
                  <a:close/>
                  <a:moveTo>
                    <a:pt x="560977" y="208586"/>
                  </a:moveTo>
                  <a:lnTo>
                    <a:pt x="560832" y="197934"/>
                  </a:lnTo>
                  <a:lnTo>
                    <a:pt x="604673" y="197354"/>
                  </a:lnTo>
                  <a:lnTo>
                    <a:pt x="604818" y="208007"/>
                  </a:lnTo>
                  <a:lnTo>
                    <a:pt x="560977" y="208586"/>
                  </a:lnTo>
                  <a:close/>
                  <a:moveTo>
                    <a:pt x="648622" y="207391"/>
                  </a:moveTo>
                  <a:lnTo>
                    <a:pt x="648477" y="196739"/>
                  </a:lnTo>
                  <a:lnTo>
                    <a:pt x="692317" y="196159"/>
                  </a:lnTo>
                  <a:lnTo>
                    <a:pt x="692462" y="206811"/>
                  </a:lnTo>
                  <a:lnTo>
                    <a:pt x="648622" y="207391"/>
                  </a:lnTo>
                  <a:close/>
                  <a:moveTo>
                    <a:pt x="263659" y="166050"/>
                  </a:moveTo>
                  <a:lnTo>
                    <a:pt x="225978" y="143623"/>
                  </a:lnTo>
                  <a:lnTo>
                    <a:pt x="231449" y="134456"/>
                  </a:lnTo>
                  <a:lnTo>
                    <a:pt x="269130" y="156884"/>
                  </a:lnTo>
                  <a:lnTo>
                    <a:pt x="263659" y="166050"/>
                  </a:lnTo>
                  <a:close/>
                  <a:moveTo>
                    <a:pt x="188333" y="121231"/>
                  </a:moveTo>
                  <a:lnTo>
                    <a:pt x="150652" y="98804"/>
                  </a:lnTo>
                  <a:lnTo>
                    <a:pt x="156123" y="89637"/>
                  </a:lnTo>
                  <a:lnTo>
                    <a:pt x="193804" y="112065"/>
                  </a:lnTo>
                  <a:lnTo>
                    <a:pt x="188333" y="121231"/>
                  </a:lnTo>
                  <a:close/>
                  <a:moveTo>
                    <a:pt x="113007" y="76413"/>
                  </a:moveTo>
                  <a:lnTo>
                    <a:pt x="75326" y="53985"/>
                  </a:lnTo>
                  <a:lnTo>
                    <a:pt x="80797" y="44819"/>
                  </a:lnTo>
                  <a:lnTo>
                    <a:pt x="118478" y="67246"/>
                  </a:lnTo>
                  <a:lnTo>
                    <a:pt x="113007" y="76413"/>
                  </a:lnTo>
                  <a:close/>
                  <a:moveTo>
                    <a:pt x="37681" y="31594"/>
                  </a:moveTo>
                  <a:lnTo>
                    <a:pt x="0" y="9167"/>
                  </a:lnTo>
                  <a:lnTo>
                    <a:pt x="5471" y="0"/>
                  </a:lnTo>
                  <a:lnTo>
                    <a:pt x="43152" y="22427"/>
                  </a:lnTo>
                  <a:lnTo>
                    <a:pt x="37681" y="31594"/>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4" name="Google Shape;234;p7"/>
            <p:cNvSpPr/>
            <p:nvPr/>
          </p:nvSpPr>
          <p:spPr>
            <a:xfrm rot="-45724">
              <a:off x="9700116" y="5152792"/>
              <a:ext cx="21340" cy="10652"/>
            </a:xfrm>
            <a:custGeom>
              <a:avLst/>
              <a:gdLst/>
              <a:ahLst/>
              <a:cxnLst/>
              <a:rect l="l" t="t" r="r" b="b"/>
              <a:pathLst>
                <a:path w="21340" h="10652" extrusionOk="0">
                  <a:moveTo>
                    <a:pt x="0" y="0"/>
                  </a:moveTo>
                  <a:lnTo>
                    <a:pt x="21340" y="0"/>
                  </a:lnTo>
                  <a:lnTo>
                    <a:pt x="21340" y="10652"/>
                  </a:lnTo>
                  <a:lnTo>
                    <a:pt x="0" y="10652"/>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35" name="Google Shape;235;p7"/>
          <p:cNvSpPr/>
          <p:nvPr/>
        </p:nvSpPr>
        <p:spPr>
          <a:xfrm>
            <a:off x="9441813" y="4980239"/>
            <a:ext cx="99322" cy="99322"/>
          </a:xfrm>
          <a:custGeom>
            <a:avLst/>
            <a:gdLst/>
            <a:ahLst/>
            <a:cxnLst/>
            <a:rect l="l" t="t" r="r" b="b"/>
            <a:pathLst>
              <a:path w="110217" h="110217" extrusionOk="0">
                <a:moveTo>
                  <a:pt x="110218" y="55109"/>
                </a:moveTo>
                <a:cubicBezTo>
                  <a:pt x="110218" y="85544"/>
                  <a:pt x="85544" y="110217"/>
                  <a:pt x="55109" y="110217"/>
                </a:cubicBezTo>
                <a:cubicBezTo>
                  <a:pt x="24674" y="110217"/>
                  <a:pt x="1" y="85544"/>
                  <a:pt x="1" y="55109"/>
                </a:cubicBezTo>
                <a:cubicBezTo>
                  <a:pt x="1" y="24673"/>
                  <a:pt x="24674" y="0"/>
                  <a:pt x="55109" y="0"/>
                </a:cubicBezTo>
                <a:cubicBezTo>
                  <a:pt x="85544" y="0"/>
                  <a:pt x="110218" y="24673"/>
                  <a:pt x="110218" y="55109"/>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6" name="Google Shape;236;p7"/>
          <p:cNvSpPr/>
          <p:nvPr/>
        </p:nvSpPr>
        <p:spPr>
          <a:xfrm>
            <a:off x="9468880" y="5007307"/>
            <a:ext cx="45187" cy="45187"/>
          </a:xfrm>
          <a:custGeom>
            <a:avLst/>
            <a:gdLst/>
            <a:ahLst/>
            <a:cxnLst/>
            <a:rect l="l" t="t" r="r" b="b"/>
            <a:pathLst>
              <a:path w="50144" h="50144" extrusionOk="0">
                <a:moveTo>
                  <a:pt x="50145" y="25072"/>
                </a:moveTo>
                <a:cubicBezTo>
                  <a:pt x="50145" y="38920"/>
                  <a:pt x="38920" y="50145"/>
                  <a:pt x="25073" y="50145"/>
                </a:cubicBezTo>
                <a:cubicBezTo>
                  <a:pt x="11226" y="50145"/>
                  <a:pt x="1" y="38919"/>
                  <a:pt x="1" y="25072"/>
                </a:cubicBezTo>
                <a:cubicBezTo>
                  <a:pt x="1" y="11225"/>
                  <a:pt x="11226" y="0"/>
                  <a:pt x="25073" y="0"/>
                </a:cubicBezTo>
                <a:cubicBezTo>
                  <a:pt x="38920"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7" name="Google Shape;237;p7"/>
          <p:cNvSpPr/>
          <p:nvPr/>
        </p:nvSpPr>
        <p:spPr>
          <a:xfrm>
            <a:off x="8586047" y="4740749"/>
            <a:ext cx="99322" cy="99322"/>
          </a:xfrm>
          <a:custGeom>
            <a:avLst/>
            <a:gdLst/>
            <a:ahLst/>
            <a:cxnLst/>
            <a:rect l="l" t="t" r="r" b="b"/>
            <a:pathLst>
              <a:path w="110217" h="110217" extrusionOk="0">
                <a:moveTo>
                  <a:pt x="110217" y="55108"/>
                </a:moveTo>
                <a:cubicBezTo>
                  <a:pt x="110217" y="85544"/>
                  <a:pt x="85544" y="110217"/>
                  <a:pt x="55109" y="110217"/>
                </a:cubicBezTo>
                <a:cubicBezTo>
                  <a:pt x="24673" y="110217"/>
                  <a:pt x="0" y="85544"/>
                  <a:pt x="0" y="55108"/>
                </a:cubicBezTo>
                <a:cubicBezTo>
                  <a:pt x="0" y="24673"/>
                  <a:pt x="24673" y="0"/>
                  <a:pt x="55109" y="0"/>
                </a:cubicBezTo>
                <a:cubicBezTo>
                  <a:pt x="85544" y="0"/>
                  <a:pt x="110217" y="24673"/>
                  <a:pt x="110217" y="55108"/>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8" name="Google Shape;238;p7"/>
          <p:cNvSpPr/>
          <p:nvPr/>
        </p:nvSpPr>
        <p:spPr>
          <a:xfrm>
            <a:off x="8613114" y="4767816"/>
            <a:ext cx="45187" cy="45187"/>
          </a:xfrm>
          <a:custGeom>
            <a:avLst/>
            <a:gdLst/>
            <a:ahLst/>
            <a:cxnLst/>
            <a:rect l="l" t="t" r="r" b="b"/>
            <a:pathLst>
              <a:path w="50144" h="50144" extrusionOk="0">
                <a:moveTo>
                  <a:pt x="50145" y="25072"/>
                </a:moveTo>
                <a:cubicBezTo>
                  <a:pt x="50145" y="38920"/>
                  <a:pt x="38920" y="50145"/>
                  <a:pt x="25072" y="50145"/>
                </a:cubicBezTo>
                <a:cubicBezTo>
                  <a:pt x="11225" y="50145"/>
                  <a:pt x="0" y="38919"/>
                  <a:pt x="0" y="25072"/>
                </a:cubicBezTo>
                <a:cubicBezTo>
                  <a:pt x="0" y="11225"/>
                  <a:pt x="11225" y="0"/>
                  <a:pt x="25072" y="0"/>
                </a:cubicBezTo>
                <a:cubicBezTo>
                  <a:pt x="38919"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39" name="Google Shape;239;p7"/>
          <p:cNvGrpSpPr/>
          <p:nvPr/>
        </p:nvGrpSpPr>
        <p:grpSpPr>
          <a:xfrm>
            <a:off x="8703264" y="2647995"/>
            <a:ext cx="681410" cy="261461"/>
            <a:chOff x="8924764" y="2515362"/>
            <a:chExt cx="756155" cy="290141"/>
          </a:xfrm>
        </p:grpSpPr>
        <p:sp>
          <p:nvSpPr>
            <p:cNvPr id="240" name="Google Shape;240;p7"/>
            <p:cNvSpPr/>
            <p:nvPr/>
          </p:nvSpPr>
          <p:spPr>
            <a:xfrm rot="-2165232">
              <a:off x="8925854" y="2789589"/>
              <a:ext cx="21339" cy="10651"/>
            </a:xfrm>
            <a:custGeom>
              <a:avLst/>
              <a:gdLst/>
              <a:ahLst/>
              <a:cxnLst/>
              <a:rect l="l" t="t" r="r" b="b"/>
              <a:pathLst>
                <a:path w="21339" h="10651" extrusionOk="0">
                  <a:moveTo>
                    <a:pt x="0" y="0"/>
                  </a:moveTo>
                  <a:lnTo>
                    <a:pt x="21340" y="0"/>
                  </a:lnTo>
                  <a:lnTo>
                    <a:pt x="21340" y="10652"/>
                  </a:lnTo>
                  <a:lnTo>
                    <a:pt x="0" y="10652"/>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1" name="Google Shape;241;p7"/>
            <p:cNvSpPr/>
            <p:nvPr/>
          </p:nvSpPr>
          <p:spPr>
            <a:xfrm>
              <a:off x="8976029" y="2515362"/>
              <a:ext cx="639672" cy="252861"/>
            </a:xfrm>
            <a:custGeom>
              <a:avLst/>
              <a:gdLst/>
              <a:ahLst/>
              <a:cxnLst/>
              <a:rect l="l" t="t" r="r" b="b"/>
              <a:pathLst>
                <a:path w="639672" h="252861" extrusionOk="0">
                  <a:moveTo>
                    <a:pt x="6268" y="252862"/>
                  </a:moveTo>
                  <a:lnTo>
                    <a:pt x="0" y="244239"/>
                  </a:lnTo>
                  <a:lnTo>
                    <a:pt x="33985" y="219492"/>
                  </a:lnTo>
                  <a:lnTo>
                    <a:pt x="40253" y="228115"/>
                  </a:lnTo>
                  <a:lnTo>
                    <a:pt x="6268" y="252862"/>
                  </a:lnTo>
                  <a:close/>
                  <a:moveTo>
                    <a:pt x="74239" y="203369"/>
                  </a:moveTo>
                  <a:lnTo>
                    <a:pt x="67971" y="194746"/>
                  </a:lnTo>
                  <a:lnTo>
                    <a:pt x="101956" y="170000"/>
                  </a:lnTo>
                  <a:lnTo>
                    <a:pt x="108224" y="178623"/>
                  </a:lnTo>
                  <a:lnTo>
                    <a:pt x="74239" y="203369"/>
                  </a:lnTo>
                  <a:close/>
                  <a:moveTo>
                    <a:pt x="142210" y="153876"/>
                  </a:moveTo>
                  <a:lnTo>
                    <a:pt x="135942" y="145253"/>
                  </a:lnTo>
                  <a:lnTo>
                    <a:pt x="169927" y="120507"/>
                  </a:lnTo>
                  <a:lnTo>
                    <a:pt x="176195" y="129130"/>
                  </a:lnTo>
                  <a:lnTo>
                    <a:pt x="142210" y="153876"/>
                  </a:lnTo>
                  <a:close/>
                  <a:moveTo>
                    <a:pt x="210181" y="104384"/>
                  </a:moveTo>
                  <a:lnTo>
                    <a:pt x="203913" y="95761"/>
                  </a:lnTo>
                  <a:lnTo>
                    <a:pt x="237898" y="71014"/>
                  </a:lnTo>
                  <a:lnTo>
                    <a:pt x="244166" y="79638"/>
                  </a:lnTo>
                  <a:lnTo>
                    <a:pt x="210181" y="104384"/>
                  </a:lnTo>
                  <a:close/>
                  <a:moveTo>
                    <a:pt x="278152" y="54891"/>
                  </a:moveTo>
                  <a:lnTo>
                    <a:pt x="271884" y="46268"/>
                  </a:lnTo>
                  <a:lnTo>
                    <a:pt x="305869" y="21522"/>
                  </a:lnTo>
                  <a:lnTo>
                    <a:pt x="312137" y="30145"/>
                  </a:lnTo>
                  <a:lnTo>
                    <a:pt x="278152" y="54891"/>
                  </a:lnTo>
                  <a:close/>
                  <a:moveTo>
                    <a:pt x="639672" y="14493"/>
                  </a:moveTo>
                  <a:lnTo>
                    <a:pt x="596194" y="14493"/>
                  </a:lnTo>
                  <a:lnTo>
                    <a:pt x="596194" y="0"/>
                  </a:lnTo>
                  <a:lnTo>
                    <a:pt x="639672" y="0"/>
                  </a:lnTo>
                  <a:lnTo>
                    <a:pt x="639672" y="14493"/>
                  </a:lnTo>
                  <a:close/>
                  <a:moveTo>
                    <a:pt x="556339" y="14493"/>
                  </a:moveTo>
                  <a:lnTo>
                    <a:pt x="512861" y="14493"/>
                  </a:lnTo>
                  <a:lnTo>
                    <a:pt x="512861" y="0"/>
                  </a:lnTo>
                  <a:lnTo>
                    <a:pt x="556339" y="0"/>
                  </a:lnTo>
                  <a:lnTo>
                    <a:pt x="556339" y="14493"/>
                  </a:lnTo>
                  <a:close/>
                  <a:moveTo>
                    <a:pt x="469383" y="14493"/>
                  </a:moveTo>
                  <a:lnTo>
                    <a:pt x="429528" y="14493"/>
                  </a:lnTo>
                  <a:lnTo>
                    <a:pt x="429528" y="0"/>
                  </a:lnTo>
                  <a:lnTo>
                    <a:pt x="469383" y="0"/>
                  </a:lnTo>
                  <a:lnTo>
                    <a:pt x="469383" y="14493"/>
                  </a:lnTo>
                  <a:close/>
                  <a:moveTo>
                    <a:pt x="382426" y="14493"/>
                  </a:moveTo>
                  <a:lnTo>
                    <a:pt x="346195" y="14493"/>
                  </a:lnTo>
                  <a:lnTo>
                    <a:pt x="346195" y="0"/>
                  </a:lnTo>
                  <a:lnTo>
                    <a:pt x="382426" y="0"/>
                  </a:lnTo>
                  <a:lnTo>
                    <a:pt x="382426" y="1449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2" name="Google Shape;242;p7"/>
            <p:cNvSpPr/>
            <p:nvPr/>
          </p:nvSpPr>
          <p:spPr>
            <a:xfrm>
              <a:off x="9655557" y="2515363"/>
              <a:ext cx="25362" cy="14492"/>
            </a:xfrm>
            <a:custGeom>
              <a:avLst/>
              <a:gdLst/>
              <a:ahLst/>
              <a:cxnLst/>
              <a:rect l="l" t="t" r="r" b="b"/>
              <a:pathLst>
                <a:path w="25362" h="14492" extrusionOk="0">
                  <a:moveTo>
                    <a:pt x="0" y="0"/>
                  </a:moveTo>
                  <a:lnTo>
                    <a:pt x="25362" y="0"/>
                  </a:lnTo>
                  <a:lnTo>
                    <a:pt x="25362" y="14493"/>
                  </a:lnTo>
                  <a:lnTo>
                    <a:pt x="0" y="1449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43" name="Google Shape;243;p7"/>
          <p:cNvSpPr/>
          <p:nvPr/>
        </p:nvSpPr>
        <p:spPr>
          <a:xfrm>
            <a:off x="9409684" y="2608652"/>
            <a:ext cx="99322" cy="99322"/>
          </a:xfrm>
          <a:custGeom>
            <a:avLst/>
            <a:gdLst/>
            <a:ahLst/>
            <a:cxnLst/>
            <a:rect l="l" t="t" r="r" b="b"/>
            <a:pathLst>
              <a:path w="110217" h="110217" extrusionOk="0">
                <a:moveTo>
                  <a:pt x="110217" y="55109"/>
                </a:moveTo>
                <a:cubicBezTo>
                  <a:pt x="110217" y="85544"/>
                  <a:pt x="85544" y="110217"/>
                  <a:pt x="55109" y="110217"/>
                </a:cubicBezTo>
                <a:cubicBezTo>
                  <a:pt x="24673" y="110217"/>
                  <a:pt x="0" y="85544"/>
                  <a:pt x="0" y="55109"/>
                </a:cubicBezTo>
                <a:cubicBezTo>
                  <a:pt x="0" y="24673"/>
                  <a:pt x="24673" y="0"/>
                  <a:pt x="55109" y="0"/>
                </a:cubicBezTo>
                <a:cubicBezTo>
                  <a:pt x="85544" y="0"/>
                  <a:pt x="110217" y="24673"/>
                  <a:pt x="110217" y="55109"/>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4" name="Google Shape;244;p7"/>
          <p:cNvSpPr/>
          <p:nvPr/>
        </p:nvSpPr>
        <p:spPr>
          <a:xfrm>
            <a:off x="9436751" y="2635719"/>
            <a:ext cx="45187" cy="45187"/>
          </a:xfrm>
          <a:custGeom>
            <a:avLst/>
            <a:gdLst/>
            <a:ahLst/>
            <a:cxnLst/>
            <a:rect l="l" t="t" r="r" b="b"/>
            <a:pathLst>
              <a:path w="50144" h="50144" extrusionOk="0">
                <a:moveTo>
                  <a:pt x="50145" y="25072"/>
                </a:moveTo>
                <a:cubicBezTo>
                  <a:pt x="50145" y="38919"/>
                  <a:pt x="38920" y="50145"/>
                  <a:pt x="25073" y="50145"/>
                </a:cubicBezTo>
                <a:cubicBezTo>
                  <a:pt x="11226" y="50145"/>
                  <a:pt x="0" y="38919"/>
                  <a:pt x="0" y="25072"/>
                </a:cubicBezTo>
                <a:cubicBezTo>
                  <a:pt x="0" y="11225"/>
                  <a:pt x="11225" y="0"/>
                  <a:pt x="25073" y="0"/>
                </a:cubicBezTo>
                <a:cubicBezTo>
                  <a:pt x="38920"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5" name="Google Shape;245;p7"/>
          <p:cNvSpPr/>
          <p:nvPr/>
        </p:nvSpPr>
        <p:spPr>
          <a:xfrm>
            <a:off x="8609424" y="2894897"/>
            <a:ext cx="99322" cy="99322"/>
          </a:xfrm>
          <a:custGeom>
            <a:avLst/>
            <a:gdLst/>
            <a:ahLst/>
            <a:cxnLst/>
            <a:rect l="l" t="t" r="r" b="b"/>
            <a:pathLst>
              <a:path w="110217" h="110217" extrusionOk="0">
                <a:moveTo>
                  <a:pt x="110217" y="55109"/>
                </a:moveTo>
                <a:cubicBezTo>
                  <a:pt x="110217" y="85544"/>
                  <a:pt x="85545" y="110217"/>
                  <a:pt x="55109" y="110217"/>
                </a:cubicBezTo>
                <a:cubicBezTo>
                  <a:pt x="24673" y="110217"/>
                  <a:pt x="0" y="85544"/>
                  <a:pt x="0" y="55109"/>
                </a:cubicBezTo>
                <a:cubicBezTo>
                  <a:pt x="0" y="24673"/>
                  <a:pt x="24673" y="0"/>
                  <a:pt x="55109" y="0"/>
                </a:cubicBezTo>
                <a:cubicBezTo>
                  <a:pt x="85545" y="0"/>
                  <a:pt x="110217" y="24673"/>
                  <a:pt x="110217" y="55109"/>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6" name="Google Shape;246;p7"/>
          <p:cNvSpPr/>
          <p:nvPr/>
        </p:nvSpPr>
        <p:spPr>
          <a:xfrm>
            <a:off x="8636491" y="2921964"/>
            <a:ext cx="45187" cy="45187"/>
          </a:xfrm>
          <a:custGeom>
            <a:avLst/>
            <a:gdLst/>
            <a:ahLst/>
            <a:cxnLst/>
            <a:rect l="l" t="t" r="r" b="b"/>
            <a:pathLst>
              <a:path w="50144" h="50144" extrusionOk="0">
                <a:moveTo>
                  <a:pt x="50145" y="25072"/>
                </a:moveTo>
                <a:cubicBezTo>
                  <a:pt x="50145" y="38919"/>
                  <a:pt x="38920" y="50145"/>
                  <a:pt x="25072" y="50145"/>
                </a:cubicBezTo>
                <a:cubicBezTo>
                  <a:pt x="11225" y="50145"/>
                  <a:pt x="0" y="38919"/>
                  <a:pt x="0" y="25072"/>
                </a:cubicBezTo>
                <a:cubicBezTo>
                  <a:pt x="0" y="11225"/>
                  <a:pt x="11225" y="0"/>
                  <a:pt x="25072" y="0"/>
                </a:cubicBezTo>
                <a:cubicBezTo>
                  <a:pt x="38919"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47" name="Google Shape;247;p7"/>
          <p:cNvGrpSpPr/>
          <p:nvPr/>
        </p:nvGrpSpPr>
        <p:grpSpPr>
          <a:xfrm>
            <a:off x="2885161" y="4818326"/>
            <a:ext cx="716518" cy="220617"/>
            <a:chOff x="2468462" y="4923762"/>
            <a:chExt cx="795115" cy="244817"/>
          </a:xfrm>
        </p:grpSpPr>
        <p:sp>
          <p:nvSpPr>
            <p:cNvPr id="248" name="Google Shape;248;p7"/>
            <p:cNvSpPr/>
            <p:nvPr/>
          </p:nvSpPr>
          <p:spPr>
            <a:xfrm>
              <a:off x="3240317" y="4923762"/>
              <a:ext cx="23260" cy="20072"/>
            </a:xfrm>
            <a:custGeom>
              <a:avLst/>
              <a:gdLst/>
              <a:ahLst/>
              <a:cxnLst/>
              <a:rect l="l" t="t" r="r" b="b"/>
              <a:pathLst>
                <a:path w="23260" h="20072" extrusionOk="0">
                  <a:moveTo>
                    <a:pt x="5326" y="20072"/>
                  </a:moveTo>
                  <a:lnTo>
                    <a:pt x="23261" y="9167"/>
                  </a:lnTo>
                  <a:lnTo>
                    <a:pt x="17935" y="0"/>
                  </a:lnTo>
                  <a:lnTo>
                    <a:pt x="0" y="10906"/>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9" name="Google Shape;249;p7"/>
            <p:cNvSpPr/>
            <p:nvPr/>
          </p:nvSpPr>
          <p:spPr>
            <a:xfrm>
              <a:off x="2532203" y="4957059"/>
              <a:ext cx="676628" cy="211520"/>
            </a:xfrm>
            <a:custGeom>
              <a:avLst/>
              <a:gdLst/>
              <a:ahLst/>
              <a:cxnLst/>
              <a:rect l="l" t="t" r="r" b="b"/>
              <a:pathLst>
                <a:path w="676628" h="211520" extrusionOk="0">
                  <a:moveTo>
                    <a:pt x="344057" y="211521"/>
                  </a:moveTo>
                  <a:lnTo>
                    <a:pt x="345579" y="210760"/>
                  </a:lnTo>
                  <a:lnTo>
                    <a:pt x="382173" y="188478"/>
                  </a:lnTo>
                  <a:lnTo>
                    <a:pt x="376847" y="179311"/>
                  </a:lnTo>
                  <a:lnTo>
                    <a:pt x="340253" y="201594"/>
                  </a:lnTo>
                  <a:lnTo>
                    <a:pt x="342789" y="205978"/>
                  </a:lnTo>
                  <a:lnTo>
                    <a:pt x="342572" y="211521"/>
                  </a:lnTo>
                  <a:lnTo>
                    <a:pt x="344057" y="211521"/>
                  </a:lnTo>
                  <a:close/>
                  <a:moveTo>
                    <a:pt x="299782" y="210905"/>
                  </a:moveTo>
                  <a:lnTo>
                    <a:pt x="299927" y="200253"/>
                  </a:lnTo>
                  <a:lnTo>
                    <a:pt x="257101" y="199673"/>
                  </a:lnTo>
                  <a:lnTo>
                    <a:pt x="256956" y="210325"/>
                  </a:lnTo>
                  <a:lnTo>
                    <a:pt x="299782" y="210905"/>
                  </a:lnTo>
                  <a:close/>
                  <a:moveTo>
                    <a:pt x="214130" y="209746"/>
                  </a:moveTo>
                  <a:lnTo>
                    <a:pt x="214275" y="199094"/>
                  </a:lnTo>
                  <a:lnTo>
                    <a:pt x="171449" y="198514"/>
                  </a:lnTo>
                  <a:lnTo>
                    <a:pt x="171304" y="209166"/>
                  </a:lnTo>
                  <a:lnTo>
                    <a:pt x="214130" y="209746"/>
                  </a:lnTo>
                  <a:close/>
                  <a:moveTo>
                    <a:pt x="128478" y="208586"/>
                  </a:moveTo>
                  <a:lnTo>
                    <a:pt x="128623" y="197934"/>
                  </a:lnTo>
                  <a:lnTo>
                    <a:pt x="85797" y="197354"/>
                  </a:lnTo>
                  <a:lnTo>
                    <a:pt x="85652" y="208007"/>
                  </a:lnTo>
                  <a:lnTo>
                    <a:pt x="128478" y="208586"/>
                  </a:lnTo>
                  <a:close/>
                  <a:moveTo>
                    <a:pt x="42826" y="207391"/>
                  </a:moveTo>
                  <a:lnTo>
                    <a:pt x="42971" y="196739"/>
                  </a:lnTo>
                  <a:lnTo>
                    <a:pt x="145" y="196159"/>
                  </a:lnTo>
                  <a:lnTo>
                    <a:pt x="0" y="206811"/>
                  </a:lnTo>
                  <a:lnTo>
                    <a:pt x="42826" y="207391"/>
                  </a:lnTo>
                  <a:close/>
                  <a:moveTo>
                    <a:pt x="418985" y="166050"/>
                  </a:moveTo>
                  <a:lnTo>
                    <a:pt x="455796" y="143623"/>
                  </a:lnTo>
                  <a:lnTo>
                    <a:pt x="450470" y="134456"/>
                  </a:lnTo>
                  <a:lnTo>
                    <a:pt x="413659" y="156884"/>
                  </a:lnTo>
                  <a:lnTo>
                    <a:pt x="418985" y="166050"/>
                  </a:lnTo>
                  <a:close/>
                  <a:moveTo>
                    <a:pt x="492608" y="121231"/>
                  </a:moveTo>
                  <a:lnTo>
                    <a:pt x="529419" y="98804"/>
                  </a:lnTo>
                  <a:lnTo>
                    <a:pt x="524093" y="89637"/>
                  </a:lnTo>
                  <a:lnTo>
                    <a:pt x="487282" y="112065"/>
                  </a:lnTo>
                  <a:lnTo>
                    <a:pt x="492608" y="121231"/>
                  </a:lnTo>
                  <a:close/>
                  <a:moveTo>
                    <a:pt x="566231" y="76413"/>
                  </a:moveTo>
                  <a:lnTo>
                    <a:pt x="603042" y="53985"/>
                  </a:lnTo>
                  <a:lnTo>
                    <a:pt x="597716" y="44819"/>
                  </a:lnTo>
                  <a:lnTo>
                    <a:pt x="560905" y="67246"/>
                  </a:lnTo>
                  <a:lnTo>
                    <a:pt x="566231" y="76413"/>
                  </a:lnTo>
                  <a:close/>
                  <a:moveTo>
                    <a:pt x="639817" y="31594"/>
                  </a:moveTo>
                  <a:lnTo>
                    <a:pt x="676629" y="9167"/>
                  </a:lnTo>
                  <a:lnTo>
                    <a:pt x="671303" y="0"/>
                  </a:lnTo>
                  <a:lnTo>
                    <a:pt x="634491" y="22427"/>
                  </a:lnTo>
                  <a:lnTo>
                    <a:pt x="639817" y="31594"/>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0" name="Google Shape;250;p7"/>
            <p:cNvSpPr/>
            <p:nvPr/>
          </p:nvSpPr>
          <p:spPr>
            <a:xfrm rot="-5355307">
              <a:off x="2473621" y="5147282"/>
              <a:ext cx="10651" cy="20832"/>
            </a:xfrm>
            <a:custGeom>
              <a:avLst/>
              <a:gdLst/>
              <a:ahLst/>
              <a:cxnLst/>
              <a:rect l="l" t="t" r="r" b="b"/>
              <a:pathLst>
                <a:path w="10651" h="20832" extrusionOk="0">
                  <a:moveTo>
                    <a:pt x="0" y="0"/>
                  </a:moveTo>
                  <a:lnTo>
                    <a:pt x="10652" y="0"/>
                  </a:lnTo>
                  <a:lnTo>
                    <a:pt x="10652" y="20833"/>
                  </a:lnTo>
                  <a:lnTo>
                    <a:pt x="0" y="2083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51" name="Google Shape;251;p7"/>
          <p:cNvSpPr/>
          <p:nvPr/>
        </p:nvSpPr>
        <p:spPr>
          <a:xfrm>
            <a:off x="2768282" y="4980239"/>
            <a:ext cx="97036" cy="99322"/>
          </a:xfrm>
          <a:custGeom>
            <a:avLst/>
            <a:gdLst/>
            <a:ahLst/>
            <a:cxnLst/>
            <a:rect l="l" t="t" r="r" b="b"/>
            <a:pathLst>
              <a:path w="107680" h="110217" extrusionOk="0">
                <a:moveTo>
                  <a:pt x="107681" y="55109"/>
                </a:moveTo>
                <a:cubicBezTo>
                  <a:pt x="107681" y="85544"/>
                  <a:pt x="83576" y="110217"/>
                  <a:pt x="53840" y="110217"/>
                </a:cubicBezTo>
                <a:cubicBezTo>
                  <a:pt x="24105" y="110217"/>
                  <a:pt x="0" y="85544"/>
                  <a:pt x="0" y="55109"/>
                </a:cubicBezTo>
                <a:cubicBezTo>
                  <a:pt x="0" y="24673"/>
                  <a:pt x="24105" y="0"/>
                  <a:pt x="53840" y="0"/>
                </a:cubicBezTo>
                <a:cubicBezTo>
                  <a:pt x="83576" y="0"/>
                  <a:pt x="107681" y="24673"/>
                  <a:pt x="107681" y="55109"/>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2" name="Google Shape;252;p7"/>
          <p:cNvSpPr/>
          <p:nvPr/>
        </p:nvSpPr>
        <p:spPr>
          <a:xfrm>
            <a:off x="2794728" y="5007307"/>
            <a:ext cx="44143" cy="45187"/>
          </a:xfrm>
          <a:custGeom>
            <a:avLst/>
            <a:gdLst/>
            <a:ahLst/>
            <a:cxnLst/>
            <a:rect l="l" t="t" r="r" b="b"/>
            <a:pathLst>
              <a:path w="48985" h="50144" extrusionOk="0">
                <a:moveTo>
                  <a:pt x="48985" y="25072"/>
                </a:moveTo>
                <a:cubicBezTo>
                  <a:pt x="48985" y="38920"/>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3" name="Google Shape;253;p7"/>
          <p:cNvSpPr/>
          <p:nvPr/>
        </p:nvSpPr>
        <p:spPr>
          <a:xfrm>
            <a:off x="3604521" y="4740749"/>
            <a:ext cx="97036" cy="99322"/>
          </a:xfrm>
          <a:custGeom>
            <a:avLst/>
            <a:gdLst/>
            <a:ahLst/>
            <a:cxnLst/>
            <a:rect l="l" t="t" r="r" b="b"/>
            <a:pathLst>
              <a:path w="107680" h="110217" extrusionOk="0">
                <a:moveTo>
                  <a:pt x="107681" y="55108"/>
                </a:moveTo>
                <a:cubicBezTo>
                  <a:pt x="107681" y="85544"/>
                  <a:pt x="83576" y="110217"/>
                  <a:pt x="53841" y="110217"/>
                </a:cubicBezTo>
                <a:cubicBezTo>
                  <a:pt x="24105" y="110217"/>
                  <a:pt x="0" y="85544"/>
                  <a:pt x="0" y="55108"/>
                </a:cubicBezTo>
                <a:cubicBezTo>
                  <a:pt x="0" y="24673"/>
                  <a:pt x="24105" y="0"/>
                  <a:pt x="53841" y="0"/>
                </a:cubicBezTo>
                <a:cubicBezTo>
                  <a:pt x="83576" y="0"/>
                  <a:pt x="107681" y="24673"/>
                  <a:pt x="107681" y="55108"/>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4" name="Google Shape;254;p7"/>
          <p:cNvSpPr/>
          <p:nvPr/>
        </p:nvSpPr>
        <p:spPr>
          <a:xfrm>
            <a:off x="3630968" y="4767816"/>
            <a:ext cx="44143" cy="45187"/>
          </a:xfrm>
          <a:custGeom>
            <a:avLst/>
            <a:gdLst/>
            <a:ahLst/>
            <a:cxnLst/>
            <a:rect l="l" t="t" r="r" b="b"/>
            <a:pathLst>
              <a:path w="48985" h="50144" extrusionOk="0">
                <a:moveTo>
                  <a:pt x="48985" y="25072"/>
                </a:moveTo>
                <a:cubicBezTo>
                  <a:pt x="48985" y="38920"/>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55" name="Google Shape;255;p7"/>
          <p:cNvGrpSpPr/>
          <p:nvPr/>
        </p:nvGrpSpPr>
        <p:grpSpPr>
          <a:xfrm>
            <a:off x="2919910" y="2647995"/>
            <a:ext cx="666948" cy="261496"/>
            <a:chOff x="2507022" y="2515362"/>
            <a:chExt cx="740107" cy="290180"/>
          </a:xfrm>
        </p:grpSpPr>
        <p:sp>
          <p:nvSpPr>
            <p:cNvPr id="256" name="Google Shape;256;p7"/>
            <p:cNvSpPr/>
            <p:nvPr/>
          </p:nvSpPr>
          <p:spPr>
            <a:xfrm>
              <a:off x="3224122" y="2784347"/>
              <a:ext cx="23007" cy="21195"/>
            </a:xfrm>
            <a:custGeom>
              <a:avLst/>
              <a:gdLst/>
              <a:ahLst/>
              <a:cxnLst/>
              <a:rect l="l" t="t" r="r" b="b"/>
              <a:pathLst>
                <a:path w="23007" h="21195" extrusionOk="0">
                  <a:moveTo>
                    <a:pt x="16884" y="21196"/>
                  </a:moveTo>
                  <a:lnTo>
                    <a:pt x="23007" y="12572"/>
                  </a:lnTo>
                  <a:lnTo>
                    <a:pt x="6159" y="0"/>
                  </a:lnTo>
                  <a:lnTo>
                    <a:pt x="0" y="8623"/>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7" name="Google Shape;257;p7"/>
            <p:cNvSpPr/>
            <p:nvPr/>
          </p:nvSpPr>
          <p:spPr>
            <a:xfrm>
              <a:off x="2568616" y="2515362"/>
              <a:ext cx="628585" cy="252861"/>
            </a:xfrm>
            <a:custGeom>
              <a:avLst/>
              <a:gdLst/>
              <a:ahLst/>
              <a:cxnLst/>
              <a:rect l="l" t="t" r="r" b="b"/>
              <a:pathLst>
                <a:path w="628585" h="252861" extrusionOk="0">
                  <a:moveTo>
                    <a:pt x="622462" y="252862"/>
                  </a:moveTo>
                  <a:lnTo>
                    <a:pt x="628586" y="244239"/>
                  </a:lnTo>
                  <a:lnTo>
                    <a:pt x="595361" y="219492"/>
                  </a:lnTo>
                  <a:lnTo>
                    <a:pt x="589238" y="228115"/>
                  </a:lnTo>
                  <a:lnTo>
                    <a:pt x="622462" y="252862"/>
                  </a:lnTo>
                  <a:close/>
                  <a:moveTo>
                    <a:pt x="556050" y="203369"/>
                  </a:moveTo>
                  <a:lnTo>
                    <a:pt x="562173" y="194746"/>
                  </a:lnTo>
                  <a:lnTo>
                    <a:pt x="528948" y="170000"/>
                  </a:lnTo>
                  <a:lnTo>
                    <a:pt x="522825" y="178623"/>
                  </a:lnTo>
                  <a:lnTo>
                    <a:pt x="556050" y="203369"/>
                  </a:lnTo>
                  <a:close/>
                  <a:moveTo>
                    <a:pt x="489637" y="153876"/>
                  </a:moveTo>
                  <a:lnTo>
                    <a:pt x="495760" y="145253"/>
                  </a:lnTo>
                  <a:lnTo>
                    <a:pt x="462535" y="120507"/>
                  </a:lnTo>
                  <a:lnTo>
                    <a:pt x="456412" y="129130"/>
                  </a:lnTo>
                  <a:lnTo>
                    <a:pt x="489637" y="153876"/>
                  </a:lnTo>
                  <a:close/>
                  <a:moveTo>
                    <a:pt x="423224" y="104384"/>
                  </a:moveTo>
                  <a:lnTo>
                    <a:pt x="429347" y="95761"/>
                  </a:lnTo>
                  <a:lnTo>
                    <a:pt x="396122" y="71014"/>
                  </a:lnTo>
                  <a:lnTo>
                    <a:pt x="389999" y="79638"/>
                  </a:lnTo>
                  <a:lnTo>
                    <a:pt x="423224" y="104384"/>
                  </a:lnTo>
                  <a:close/>
                  <a:moveTo>
                    <a:pt x="356811" y="54891"/>
                  </a:moveTo>
                  <a:lnTo>
                    <a:pt x="362934" y="46268"/>
                  </a:lnTo>
                  <a:lnTo>
                    <a:pt x="329709" y="21522"/>
                  </a:lnTo>
                  <a:lnTo>
                    <a:pt x="323586" y="30145"/>
                  </a:lnTo>
                  <a:lnTo>
                    <a:pt x="356811" y="54891"/>
                  </a:lnTo>
                  <a:close/>
                  <a:moveTo>
                    <a:pt x="0" y="14493"/>
                  </a:moveTo>
                  <a:lnTo>
                    <a:pt x="43478" y="14493"/>
                  </a:lnTo>
                  <a:lnTo>
                    <a:pt x="43478" y="0"/>
                  </a:lnTo>
                  <a:lnTo>
                    <a:pt x="0" y="0"/>
                  </a:lnTo>
                  <a:lnTo>
                    <a:pt x="0" y="14493"/>
                  </a:lnTo>
                  <a:close/>
                  <a:moveTo>
                    <a:pt x="83333" y="14493"/>
                  </a:moveTo>
                  <a:lnTo>
                    <a:pt x="123188" y="14493"/>
                  </a:lnTo>
                  <a:lnTo>
                    <a:pt x="123188" y="0"/>
                  </a:lnTo>
                  <a:lnTo>
                    <a:pt x="83333" y="0"/>
                  </a:lnTo>
                  <a:lnTo>
                    <a:pt x="83333" y="14493"/>
                  </a:lnTo>
                  <a:close/>
                  <a:moveTo>
                    <a:pt x="166666" y="14493"/>
                  </a:moveTo>
                  <a:lnTo>
                    <a:pt x="206521" y="14493"/>
                  </a:lnTo>
                  <a:lnTo>
                    <a:pt x="206521" y="0"/>
                  </a:lnTo>
                  <a:lnTo>
                    <a:pt x="166666" y="0"/>
                  </a:lnTo>
                  <a:lnTo>
                    <a:pt x="166666" y="14493"/>
                  </a:lnTo>
                  <a:close/>
                  <a:moveTo>
                    <a:pt x="253623" y="14493"/>
                  </a:moveTo>
                  <a:lnTo>
                    <a:pt x="286231" y="14493"/>
                  </a:lnTo>
                  <a:lnTo>
                    <a:pt x="286231" y="0"/>
                  </a:lnTo>
                  <a:lnTo>
                    <a:pt x="253623" y="0"/>
                  </a:lnTo>
                  <a:lnTo>
                    <a:pt x="253623" y="14493"/>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8" name="Google Shape;258;p7"/>
            <p:cNvSpPr/>
            <p:nvPr/>
          </p:nvSpPr>
          <p:spPr>
            <a:xfrm>
              <a:off x="2507022" y="2515363"/>
              <a:ext cx="21739" cy="14492"/>
            </a:xfrm>
            <a:custGeom>
              <a:avLst/>
              <a:gdLst/>
              <a:ahLst/>
              <a:cxnLst/>
              <a:rect l="l" t="t" r="r" b="b"/>
              <a:pathLst>
                <a:path w="21739" h="14492" extrusionOk="0">
                  <a:moveTo>
                    <a:pt x="0" y="0"/>
                  </a:moveTo>
                  <a:lnTo>
                    <a:pt x="21739" y="0"/>
                  </a:lnTo>
                  <a:lnTo>
                    <a:pt x="21739" y="14493"/>
                  </a:lnTo>
                  <a:lnTo>
                    <a:pt x="0" y="14493"/>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59" name="Google Shape;259;p7"/>
          <p:cNvSpPr/>
          <p:nvPr/>
        </p:nvSpPr>
        <p:spPr>
          <a:xfrm>
            <a:off x="2799691" y="2608652"/>
            <a:ext cx="97036" cy="99322"/>
          </a:xfrm>
          <a:custGeom>
            <a:avLst/>
            <a:gdLst/>
            <a:ahLst/>
            <a:cxnLst/>
            <a:rect l="l" t="t" r="r" b="b"/>
            <a:pathLst>
              <a:path w="107680" h="110217" extrusionOk="0">
                <a:moveTo>
                  <a:pt x="107681" y="55109"/>
                </a:moveTo>
                <a:cubicBezTo>
                  <a:pt x="107681" y="85544"/>
                  <a:pt x="83576" y="110217"/>
                  <a:pt x="53840" y="110217"/>
                </a:cubicBezTo>
                <a:cubicBezTo>
                  <a:pt x="24105" y="110217"/>
                  <a:pt x="0" y="85544"/>
                  <a:pt x="0" y="55109"/>
                </a:cubicBezTo>
                <a:cubicBezTo>
                  <a:pt x="0" y="24673"/>
                  <a:pt x="24105" y="0"/>
                  <a:pt x="53840" y="0"/>
                </a:cubicBezTo>
                <a:cubicBezTo>
                  <a:pt x="83576" y="0"/>
                  <a:pt x="107681" y="24673"/>
                  <a:pt x="107681" y="55109"/>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0" name="Google Shape;260;p7"/>
          <p:cNvSpPr/>
          <p:nvPr/>
        </p:nvSpPr>
        <p:spPr>
          <a:xfrm>
            <a:off x="2826138" y="2635719"/>
            <a:ext cx="44143" cy="45187"/>
          </a:xfrm>
          <a:custGeom>
            <a:avLst/>
            <a:gdLst/>
            <a:ahLst/>
            <a:cxnLst/>
            <a:rect l="l" t="t" r="r" b="b"/>
            <a:pathLst>
              <a:path w="48985" h="50144" extrusionOk="0">
                <a:moveTo>
                  <a:pt x="48985" y="25072"/>
                </a:moveTo>
                <a:cubicBezTo>
                  <a:pt x="48985" y="38919"/>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1" name="Google Shape;261;p7"/>
          <p:cNvSpPr/>
          <p:nvPr/>
        </p:nvSpPr>
        <p:spPr>
          <a:xfrm>
            <a:off x="3581699" y="2894897"/>
            <a:ext cx="97036" cy="99322"/>
          </a:xfrm>
          <a:custGeom>
            <a:avLst/>
            <a:gdLst/>
            <a:ahLst/>
            <a:cxnLst/>
            <a:rect l="l" t="t" r="r" b="b"/>
            <a:pathLst>
              <a:path w="107680" h="110217" extrusionOk="0">
                <a:moveTo>
                  <a:pt x="107681" y="55109"/>
                </a:moveTo>
                <a:cubicBezTo>
                  <a:pt x="107681" y="85544"/>
                  <a:pt x="83576" y="110217"/>
                  <a:pt x="53841" y="110217"/>
                </a:cubicBezTo>
                <a:cubicBezTo>
                  <a:pt x="24105" y="110217"/>
                  <a:pt x="0" y="85544"/>
                  <a:pt x="0" y="55109"/>
                </a:cubicBezTo>
                <a:cubicBezTo>
                  <a:pt x="0" y="24673"/>
                  <a:pt x="24105" y="0"/>
                  <a:pt x="53841" y="0"/>
                </a:cubicBezTo>
                <a:cubicBezTo>
                  <a:pt x="83576" y="0"/>
                  <a:pt x="107681" y="24673"/>
                  <a:pt x="107681" y="55109"/>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2" name="Google Shape;262;p7"/>
          <p:cNvSpPr/>
          <p:nvPr/>
        </p:nvSpPr>
        <p:spPr>
          <a:xfrm>
            <a:off x="3608146" y="2921964"/>
            <a:ext cx="44143" cy="45187"/>
          </a:xfrm>
          <a:custGeom>
            <a:avLst/>
            <a:gdLst/>
            <a:ahLst/>
            <a:cxnLst/>
            <a:rect l="l" t="t" r="r" b="b"/>
            <a:pathLst>
              <a:path w="48985" h="50144" extrusionOk="0">
                <a:moveTo>
                  <a:pt x="48985" y="25072"/>
                </a:moveTo>
                <a:cubicBezTo>
                  <a:pt x="48985" y="38919"/>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3" name="Google Shape;263;p7"/>
          <p:cNvSpPr/>
          <p:nvPr/>
        </p:nvSpPr>
        <p:spPr>
          <a:xfrm>
            <a:off x="6099293" y="5053440"/>
            <a:ext cx="63675" cy="23542"/>
          </a:xfrm>
          <a:custGeom>
            <a:avLst/>
            <a:gdLst/>
            <a:ahLst/>
            <a:cxnLst/>
            <a:rect l="l" t="t" r="r" b="b"/>
            <a:pathLst>
              <a:path w="70660" h="26124" extrusionOk="0">
                <a:moveTo>
                  <a:pt x="57979" y="26125"/>
                </a:moveTo>
                <a:cubicBezTo>
                  <a:pt x="42762" y="26125"/>
                  <a:pt x="27363" y="25871"/>
                  <a:pt x="12255" y="25364"/>
                </a:cubicBezTo>
                <a:cubicBezTo>
                  <a:pt x="5262" y="25146"/>
                  <a:pt x="-245" y="19277"/>
                  <a:pt x="8" y="12248"/>
                </a:cubicBezTo>
                <a:cubicBezTo>
                  <a:pt x="262" y="5255"/>
                  <a:pt x="6023" y="-107"/>
                  <a:pt x="13124" y="2"/>
                </a:cubicBezTo>
                <a:cubicBezTo>
                  <a:pt x="27943" y="509"/>
                  <a:pt x="43052" y="763"/>
                  <a:pt x="57979" y="763"/>
                </a:cubicBezTo>
                <a:cubicBezTo>
                  <a:pt x="64972" y="763"/>
                  <a:pt x="70660" y="6451"/>
                  <a:pt x="70660" y="13444"/>
                </a:cubicBezTo>
                <a:cubicBezTo>
                  <a:pt x="70660" y="20436"/>
                  <a:pt x="64972" y="26125"/>
                  <a:pt x="57979" y="26125"/>
                </a:cubicBezTo>
                <a:close/>
              </a:path>
            </a:pathLst>
          </a:custGeom>
          <a:solidFill>
            <a:srgbClr val="FFB13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64" name="Google Shape;264;p7"/>
          <p:cNvGrpSpPr/>
          <p:nvPr/>
        </p:nvGrpSpPr>
        <p:grpSpPr>
          <a:xfrm>
            <a:off x="7239220" y="4219096"/>
            <a:ext cx="110815" cy="110814"/>
            <a:chOff x="7300127" y="4258800"/>
            <a:chExt cx="122970" cy="122970"/>
          </a:xfrm>
        </p:grpSpPr>
        <p:sp>
          <p:nvSpPr>
            <p:cNvPr id="265" name="Google Shape;265;p7"/>
            <p:cNvSpPr/>
            <p:nvPr/>
          </p:nvSpPr>
          <p:spPr>
            <a:xfrm>
              <a:off x="7300127" y="4258800"/>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6" name="Google Shape;266;p7"/>
            <p:cNvSpPr/>
            <p:nvPr/>
          </p:nvSpPr>
          <p:spPr>
            <a:xfrm>
              <a:off x="7333642" y="4292314"/>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4"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67" name="Google Shape;267;p7"/>
          <p:cNvGrpSpPr/>
          <p:nvPr/>
        </p:nvGrpSpPr>
        <p:grpSpPr>
          <a:xfrm>
            <a:off x="7222895" y="3396308"/>
            <a:ext cx="110815" cy="110814"/>
            <a:chOff x="7282011" y="3345759"/>
            <a:chExt cx="122970" cy="122970"/>
          </a:xfrm>
        </p:grpSpPr>
        <p:sp>
          <p:nvSpPr>
            <p:cNvPr id="268" name="Google Shape;268;p7"/>
            <p:cNvSpPr/>
            <p:nvPr/>
          </p:nvSpPr>
          <p:spPr>
            <a:xfrm>
              <a:off x="7282011" y="3345759"/>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9CCB2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9" name="Google Shape;269;p7"/>
            <p:cNvSpPr/>
            <p:nvPr/>
          </p:nvSpPr>
          <p:spPr>
            <a:xfrm>
              <a:off x="7315526" y="3379273"/>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4"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70" name="Google Shape;270;p7"/>
          <p:cNvGrpSpPr/>
          <p:nvPr/>
        </p:nvGrpSpPr>
        <p:grpSpPr>
          <a:xfrm>
            <a:off x="4960228" y="4219096"/>
            <a:ext cx="110815" cy="110814"/>
            <a:chOff x="4771147" y="4258800"/>
            <a:chExt cx="122970" cy="122970"/>
          </a:xfrm>
        </p:grpSpPr>
        <p:sp>
          <p:nvSpPr>
            <p:cNvPr id="271" name="Google Shape;271;p7"/>
            <p:cNvSpPr/>
            <p:nvPr/>
          </p:nvSpPr>
          <p:spPr>
            <a:xfrm>
              <a:off x="4771147" y="4258800"/>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00B0E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2" name="Google Shape;272;p7"/>
            <p:cNvSpPr/>
            <p:nvPr/>
          </p:nvSpPr>
          <p:spPr>
            <a:xfrm>
              <a:off x="4804662" y="4292314"/>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3"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73" name="Google Shape;273;p7"/>
          <p:cNvGrpSpPr/>
          <p:nvPr/>
        </p:nvGrpSpPr>
        <p:grpSpPr>
          <a:xfrm>
            <a:off x="4953698" y="3396308"/>
            <a:ext cx="110815" cy="110814"/>
            <a:chOff x="4763901" y="3345759"/>
            <a:chExt cx="122970" cy="122970"/>
          </a:xfrm>
        </p:grpSpPr>
        <p:sp>
          <p:nvSpPr>
            <p:cNvPr id="274" name="Google Shape;274;p7"/>
            <p:cNvSpPr/>
            <p:nvPr/>
          </p:nvSpPr>
          <p:spPr>
            <a:xfrm>
              <a:off x="4763901" y="3345759"/>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34343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5" name="Google Shape;275;p7"/>
            <p:cNvSpPr/>
            <p:nvPr/>
          </p:nvSpPr>
          <p:spPr>
            <a:xfrm>
              <a:off x="4797415" y="3379273"/>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3"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76" name="Google Shape;276;p7"/>
          <p:cNvGrpSpPr/>
          <p:nvPr/>
        </p:nvGrpSpPr>
        <p:grpSpPr>
          <a:xfrm>
            <a:off x="4938933" y="2650437"/>
            <a:ext cx="2425279" cy="2426545"/>
            <a:chOff x="4747516" y="2518071"/>
            <a:chExt cx="2691313" cy="2692719"/>
          </a:xfrm>
        </p:grpSpPr>
        <p:sp>
          <p:nvSpPr>
            <p:cNvPr id="277" name="Google Shape;277;p7"/>
            <p:cNvSpPr/>
            <p:nvPr/>
          </p:nvSpPr>
          <p:spPr>
            <a:xfrm>
              <a:off x="5854073" y="5166255"/>
              <a:ext cx="115576" cy="37651"/>
            </a:xfrm>
            <a:custGeom>
              <a:avLst/>
              <a:gdLst/>
              <a:ahLst/>
              <a:cxnLst/>
              <a:rect l="l" t="t" r="r" b="b"/>
              <a:pathLst>
                <a:path w="115576" h="37651" extrusionOk="0">
                  <a:moveTo>
                    <a:pt x="102905" y="37651"/>
                  </a:moveTo>
                  <a:cubicBezTo>
                    <a:pt x="102470" y="37651"/>
                    <a:pt x="102035" y="37615"/>
                    <a:pt x="101601" y="37579"/>
                  </a:cubicBezTo>
                  <a:cubicBezTo>
                    <a:pt x="71202" y="34499"/>
                    <a:pt x="40586" y="30333"/>
                    <a:pt x="10550" y="25188"/>
                  </a:cubicBezTo>
                  <a:cubicBezTo>
                    <a:pt x="3630" y="23992"/>
                    <a:pt x="-1008" y="17470"/>
                    <a:pt x="188" y="10550"/>
                  </a:cubicBezTo>
                  <a:cubicBezTo>
                    <a:pt x="1383" y="3630"/>
                    <a:pt x="7869" y="-1008"/>
                    <a:pt x="14825" y="188"/>
                  </a:cubicBezTo>
                  <a:cubicBezTo>
                    <a:pt x="44282" y="5224"/>
                    <a:pt x="74354" y="9318"/>
                    <a:pt x="104173" y="12325"/>
                  </a:cubicBezTo>
                  <a:cubicBezTo>
                    <a:pt x="111130" y="13050"/>
                    <a:pt x="116202" y="19246"/>
                    <a:pt x="115514" y="26238"/>
                  </a:cubicBezTo>
                  <a:cubicBezTo>
                    <a:pt x="114861" y="32796"/>
                    <a:pt x="109354" y="37651"/>
                    <a:pt x="102905" y="3765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8" name="Google Shape;278;p7"/>
            <p:cNvSpPr/>
            <p:nvPr/>
          </p:nvSpPr>
          <p:spPr>
            <a:xfrm>
              <a:off x="6219445" y="5165784"/>
              <a:ext cx="115510" cy="37832"/>
            </a:xfrm>
            <a:custGeom>
              <a:avLst/>
              <a:gdLst/>
              <a:ahLst/>
              <a:cxnLst/>
              <a:rect l="l" t="t" r="r" b="b"/>
              <a:pathLst>
                <a:path w="115510" h="37832" extrusionOk="0">
                  <a:moveTo>
                    <a:pt x="12677" y="37833"/>
                  </a:moveTo>
                  <a:cubicBezTo>
                    <a:pt x="6265" y="37833"/>
                    <a:pt x="758" y="32978"/>
                    <a:pt x="69" y="26456"/>
                  </a:cubicBezTo>
                  <a:cubicBezTo>
                    <a:pt x="-656" y="19499"/>
                    <a:pt x="4417" y="13267"/>
                    <a:pt x="11373" y="12543"/>
                  </a:cubicBezTo>
                  <a:cubicBezTo>
                    <a:pt x="41192" y="9463"/>
                    <a:pt x="71228" y="5296"/>
                    <a:pt x="100685" y="188"/>
                  </a:cubicBezTo>
                  <a:cubicBezTo>
                    <a:pt x="107569" y="-1008"/>
                    <a:pt x="114163" y="3630"/>
                    <a:pt x="115322" y="10514"/>
                  </a:cubicBezTo>
                  <a:cubicBezTo>
                    <a:pt x="116518" y="17398"/>
                    <a:pt x="111880" y="23992"/>
                    <a:pt x="104996" y="25152"/>
                  </a:cubicBezTo>
                  <a:cubicBezTo>
                    <a:pt x="74960" y="30369"/>
                    <a:pt x="44344" y="34572"/>
                    <a:pt x="13946" y="37724"/>
                  </a:cubicBezTo>
                  <a:cubicBezTo>
                    <a:pt x="13547" y="37833"/>
                    <a:pt x="13112" y="37833"/>
                    <a:pt x="12677" y="3783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9" name="Google Shape;279;p7"/>
            <p:cNvSpPr/>
            <p:nvPr/>
          </p:nvSpPr>
          <p:spPr>
            <a:xfrm>
              <a:off x="5677186" y="5123389"/>
              <a:ext cx="113043" cy="49864"/>
            </a:xfrm>
            <a:custGeom>
              <a:avLst/>
              <a:gdLst/>
              <a:ahLst/>
              <a:cxnLst/>
              <a:rect l="l" t="t" r="r" b="b"/>
              <a:pathLst>
                <a:path w="113043" h="49864" extrusionOk="0">
                  <a:moveTo>
                    <a:pt x="100408" y="49865"/>
                  </a:moveTo>
                  <a:cubicBezTo>
                    <a:pt x="99430" y="49865"/>
                    <a:pt x="98415" y="49756"/>
                    <a:pt x="97401" y="49502"/>
                  </a:cubicBezTo>
                  <a:cubicBezTo>
                    <a:pt x="67727" y="42292"/>
                    <a:pt x="37944" y="33995"/>
                    <a:pt x="8850" y="24756"/>
                  </a:cubicBezTo>
                  <a:cubicBezTo>
                    <a:pt x="2184" y="22655"/>
                    <a:pt x="-1512" y="15517"/>
                    <a:pt x="589" y="8850"/>
                  </a:cubicBezTo>
                  <a:cubicBezTo>
                    <a:pt x="2691" y="2184"/>
                    <a:pt x="9828" y="-1512"/>
                    <a:pt x="16495" y="589"/>
                  </a:cubicBezTo>
                  <a:cubicBezTo>
                    <a:pt x="45010" y="9647"/>
                    <a:pt x="74249" y="17799"/>
                    <a:pt x="103343" y="24865"/>
                  </a:cubicBezTo>
                  <a:cubicBezTo>
                    <a:pt x="110154" y="26531"/>
                    <a:pt x="114321" y="33379"/>
                    <a:pt x="112691" y="40191"/>
                  </a:cubicBezTo>
                  <a:cubicBezTo>
                    <a:pt x="111314" y="45952"/>
                    <a:pt x="106133" y="49865"/>
                    <a:pt x="100408" y="4986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0" name="Google Shape;280;p7"/>
            <p:cNvSpPr/>
            <p:nvPr/>
          </p:nvSpPr>
          <p:spPr>
            <a:xfrm>
              <a:off x="6398748" y="5122503"/>
              <a:ext cx="113038" cy="50062"/>
            </a:xfrm>
            <a:custGeom>
              <a:avLst/>
              <a:gdLst/>
              <a:ahLst/>
              <a:cxnLst/>
              <a:rect l="l" t="t" r="r" b="b"/>
              <a:pathLst>
                <a:path w="113038" h="50062" extrusionOk="0">
                  <a:moveTo>
                    <a:pt x="12686" y="50063"/>
                  </a:moveTo>
                  <a:cubicBezTo>
                    <a:pt x="6961" y="50063"/>
                    <a:pt x="1816" y="46186"/>
                    <a:pt x="367" y="40389"/>
                  </a:cubicBezTo>
                  <a:cubicBezTo>
                    <a:pt x="-1300" y="33577"/>
                    <a:pt x="2867" y="26730"/>
                    <a:pt x="9679" y="25063"/>
                  </a:cubicBezTo>
                  <a:cubicBezTo>
                    <a:pt x="38773" y="17925"/>
                    <a:pt x="67975" y="9701"/>
                    <a:pt x="96490" y="606"/>
                  </a:cubicBezTo>
                  <a:cubicBezTo>
                    <a:pt x="103157" y="-1531"/>
                    <a:pt x="110294" y="2164"/>
                    <a:pt x="112432" y="8831"/>
                  </a:cubicBezTo>
                  <a:cubicBezTo>
                    <a:pt x="114570" y="15498"/>
                    <a:pt x="110874" y="22635"/>
                    <a:pt x="104207" y="24773"/>
                  </a:cubicBezTo>
                  <a:cubicBezTo>
                    <a:pt x="75150" y="34048"/>
                    <a:pt x="45367" y="42454"/>
                    <a:pt x="15729" y="49700"/>
                  </a:cubicBezTo>
                  <a:cubicBezTo>
                    <a:pt x="14679" y="49954"/>
                    <a:pt x="13664" y="50063"/>
                    <a:pt x="12686" y="5006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1" name="Google Shape;281;p7"/>
            <p:cNvSpPr/>
            <p:nvPr/>
          </p:nvSpPr>
          <p:spPr>
            <a:xfrm>
              <a:off x="5507739" y="5056514"/>
              <a:ext cx="108970" cy="61739"/>
            </a:xfrm>
            <a:custGeom>
              <a:avLst/>
              <a:gdLst/>
              <a:ahLst/>
              <a:cxnLst/>
              <a:rect l="l" t="t" r="r" b="b"/>
              <a:pathLst>
                <a:path w="108970" h="61739" extrusionOk="0">
                  <a:moveTo>
                    <a:pt x="96269" y="61740"/>
                  </a:moveTo>
                  <a:cubicBezTo>
                    <a:pt x="94711" y="61740"/>
                    <a:pt x="93153" y="61450"/>
                    <a:pt x="91631" y="60834"/>
                  </a:cubicBezTo>
                  <a:cubicBezTo>
                    <a:pt x="63225" y="49638"/>
                    <a:pt x="34856" y="37283"/>
                    <a:pt x="7247" y="24168"/>
                  </a:cubicBezTo>
                  <a:cubicBezTo>
                    <a:pt x="907" y="21160"/>
                    <a:pt x="-1774" y="13588"/>
                    <a:pt x="1233" y="7247"/>
                  </a:cubicBezTo>
                  <a:cubicBezTo>
                    <a:pt x="4240" y="907"/>
                    <a:pt x="11813" y="-1774"/>
                    <a:pt x="18153" y="1233"/>
                  </a:cubicBezTo>
                  <a:cubicBezTo>
                    <a:pt x="45218" y="14131"/>
                    <a:pt x="73080" y="26233"/>
                    <a:pt x="100943" y="37211"/>
                  </a:cubicBezTo>
                  <a:cubicBezTo>
                    <a:pt x="107464" y="39783"/>
                    <a:pt x="110653" y="47138"/>
                    <a:pt x="108080" y="53660"/>
                  </a:cubicBezTo>
                  <a:cubicBezTo>
                    <a:pt x="106088" y="58696"/>
                    <a:pt x="101305" y="61740"/>
                    <a:pt x="96269" y="6174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2" name="Google Shape;282;p7"/>
            <p:cNvSpPr/>
            <p:nvPr/>
          </p:nvSpPr>
          <p:spPr>
            <a:xfrm>
              <a:off x="6572028" y="5055477"/>
              <a:ext cx="108688" cy="61798"/>
            </a:xfrm>
            <a:custGeom>
              <a:avLst/>
              <a:gdLst/>
              <a:ahLst/>
              <a:cxnLst/>
              <a:rect l="l" t="t" r="r" b="b"/>
              <a:pathLst>
                <a:path w="108688" h="61798" extrusionOk="0">
                  <a:moveTo>
                    <a:pt x="12666" y="61799"/>
                  </a:moveTo>
                  <a:cubicBezTo>
                    <a:pt x="7630" y="61799"/>
                    <a:pt x="2848" y="58755"/>
                    <a:pt x="891" y="53791"/>
                  </a:cubicBezTo>
                  <a:cubicBezTo>
                    <a:pt x="-1681" y="47270"/>
                    <a:pt x="1507" y="39915"/>
                    <a:pt x="7992" y="37342"/>
                  </a:cubicBezTo>
                  <a:cubicBezTo>
                    <a:pt x="35746" y="26328"/>
                    <a:pt x="63536" y="14190"/>
                    <a:pt x="90529" y="1255"/>
                  </a:cubicBezTo>
                  <a:cubicBezTo>
                    <a:pt x="96833" y="-1788"/>
                    <a:pt x="104405" y="893"/>
                    <a:pt x="107449" y="7234"/>
                  </a:cubicBezTo>
                  <a:cubicBezTo>
                    <a:pt x="110456" y="13538"/>
                    <a:pt x="107811" y="21111"/>
                    <a:pt x="101471" y="24154"/>
                  </a:cubicBezTo>
                  <a:cubicBezTo>
                    <a:pt x="73934" y="37342"/>
                    <a:pt x="45637" y="49697"/>
                    <a:pt x="17340" y="60929"/>
                  </a:cubicBezTo>
                  <a:cubicBezTo>
                    <a:pt x="15819" y="61509"/>
                    <a:pt x="14225" y="61799"/>
                    <a:pt x="12666" y="6179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3" name="Google Shape;283;p7"/>
            <p:cNvSpPr/>
            <p:nvPr/>
          </p:nvSpPr>
          <p:spPr>
            <a:xfrm>
              <a:off x="5349093" y="4967143"/>
              <a:ext cx="103181" cy="72778"/>
            </a:xfrm>
            <a:custGeom>
              <a:avLst/>
              <a:gdLst/>
              <a:ahLst/>
              <a:cxnLst/>
              <a:rect l="l" t="t" r="r" b="b"/>
              <a:pathLst>
                <a:path w="103181" h="72778" extrusionOk="0">
                  <a:moveTo>
                    <a:pt x="90459" y="72778"/>
                  </a:moveTo>
                  <a:cubicBezTo>
                    <a:pt x="88358" y="72778"/>
                    <a:pt x="86220" y="72234"/>
                    <a:pt x="84263" y="71148"/>
                  </a:cubicBezTo>
                  <a:cubicBezTo>
                    <a:pt x="57669" y="56184"/>
                    <a:pt x="31256" y="40061"/>
                    <a:pt x="5713" y="23285"/>
                  </a:cubicBezTo>
                  <a:cubicBezTo>
                    <a:pt x="-157" y="19445"/>
                    <a:pt x="-1751" y="11582"/>
                    <a:pt x="2090" y="5713"/>
                  </a:cubicBezTo>
                  <a:cubicBezTo>
                    <a:pt x="5930" y="-157"/>
                    <a:pt x="13793" y="-1751"/>
                    <a:pt x="19662" y="2090"/>
                  </a:cubicBezTo>
                  <a:cubicBezTo>
                    <a:pt x="44735" y="18539"/>
                    <a:pt x="70640" y="34336"/>
                    <a:pt x="96727" y="49046"/>
                  </a:cubicBezTo>
                  <a:cubicBezTo>
                    <a:pt x="102814" y="52488"/>
                    <a:pt x="104988" y="60205"/>
                    <a:pt x="101546" y="66329"/>
                  </a:cubicBezTo>
                  <a:cubicBezTo>
                    <a:pt x="99191" y="70459"/>
                    <a:pt x="94879" y="72778"/>
                    <a:pt x="90459" y="72778"/>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4" name="Google Shape;284;p7"/>
            <p:cNvSpPr/>
            <p:nvPr/>
          </p:nvSpPr>
          <p:spPr>
            <a:xfrm>
              <a:off x="6736021" y="4965931"/>
              <a:ext cx="102988" cy="72866"/>
            </a:xfrm>
            <a:custGeom>
              <a:avLst/>
              <a:gdLst/>
              <a:ahLst/>
              <a:cxnLst/>
              <a:rect l="l" t="t" r="r" b="b"/>
              <a:pathLst>
                <a:path w="102988" h="72866" extrusionOk="0">
                  <a:moveTo>
                    <a:pt x="12695" y="72867"/>
                  </a:moveTo>
                  <a:cubicBezTo>
                    <a:pt x="8275" y="72867"/>
                    <a:pt x="3963" y="70548"/>
                    <a:pt x="1644" y="66417"/>
                  </a:cubicBezTo>
                  <a:cubicBezTo>
                    <a:pt x="-1798" y="60330"/>
                    <a:pt x="340" y="52577"/>
                    <a:pt x="6427" y="49135"/>
                  </a:cubicBezTo>
                  <a:cubicBezTo>
                    <a:pt x="32477" y="34388"/>
                    <a:pt x="58347" y="18555"/>
                    <a:pt x="83310" y="2106"/>
                  </a:cubicBezTo>
                  <a:cubicBezTo>
                    <a:pt x="89144" y="-1771"/>
                    <a:pt x="97006" y="-141"/>
                    <a:pt x="100883" y="5729"/>
                  </a:cubicBezTo>
                  <a:cubicBezTo>
                    <a:pt x="104760" y="11598"/>
                    <a:pt x="103129" y="19461"/>
                    <a:pt x="97260" y="23301"/>
                  </a:cubicBezTo>
                  <a:cubicBezTo>
                    <a:pt x="71825" y="40077"/>
                    <a:pt x="45448" y="56200"/>
                    <a:pt x="18890" y="71236"/>
                  </a:cubicBezTo>
                  <a:cubicBezTo>
                    <a:pt x="16970" y="72359"/>
                    <a:pt x="14832" y="72867"/>
                    <a:pt x="12695" y="7286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5" name="Google Shape;285;p7"/>
            <p:cNvSpPr/>
            <p:nvPr/>
          </p:nvSpPr>
          <p:spPr>
            <a:xfrm>
              <a:off x="5204038" y="4857088"/>
              <a:ext cx="95998" cy="82869"/>
            </a:xfrm>
            <a:custGeom>
              <a:avLst/>
              <a:gdLst/>
              <a:ahLst/>
              <a:cxnLst/>
              <a:rect l="l" t="t" r="r" b="b"/>
              <a:pathLst>
                <a:path w="95998" h="82869" extrusionOk="0">
                  <a:moveTo>
                    <a:pt x="83304" y="82869"/>
                  </a:moveTo>
                  <a:cubicBezTo>
                    <a:pt x="80623" y="82869"/>
                    <a:pt x="77942" y="82036"/>
                    <a:pt x="75659" y="80297"/>
                  </a:cubicBezTo>
                  <a:cubicBezTo>
                    <a:pt x="51348" y="61855"/>
                    <a:pt x="27362" y="42326"/>
                    <a:pt x="4355" y="22254"/>
                  </a:cubicBezTo>
                  <a:cubicBezTo>
                    <a:pt x="-935" y="17652"/>
                    <a:pt x="-1478" y="9645"/>
                    <a:pt x="3123" y="4355"/>
                  </a:cubicBezTo>
                  <a:cubicBezTo>
                    <a:pt x="7725" y="-935"/>
                    <a:pt x="15732" y="-1478"/>
                    <a:pt x="21022" y="3123"/>
                  </a:cubicBezTo>
                  <a:cubicBezTo>
                    <a:pt x="43594" y="22833"/>
                    <a:pt x="67145" y="42000"/>
                    <a:pt x="90985" y="60080"/>
                  </a:cubicBezTo>
                  <a:cubicBezTo>
                    <a:pt x="96565" y="64319"/>
                    <a:pt x="97652" y="72253"/>
                    <a:pt x="93413" y="77833"/>
                  </a:cubicBezTo>
                  <a:cubicBezTo>
                    <a:pt x="90949" y="81130"/>
                    <a:pt x="87145" y="82869"/>
                    <a:pt x="83304" y="8286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6" name="Google Shape;286;p7"/>
            <p:cNvSpPr/>
            <p:nvPr/>
          </p:nvSpPr>
          <p:spPr>
            <a:xfrm>
              <a:off x="6887902" y="4855660"/>
              <a:ext cx="95871" cy="82993"/>
            </a:xfrm>
            <a:custGeom>
              <a:avLst/>
              <a:gdLst/>
              <a:ahLst/>
              <a:cxnLst/>
              <a:rect l="l" t="t" r="r" b="b"/>
              <a:pathLst>
                <a:path w="95871" h="82993" extrusionOk="0">
                  <a:moveTo>
                    <a:pt x="12697" y="82994"/>
                  </a:moveTo>
                  <a:cubicBezTo>
                    <a:pt x="8856" y="82994"/>
                    <a:pt x="5088" y="81291"/>
                    <a:pt x="2588" y="77994"/>
                  </a:cubicBezTo>
                  <a:cubicBezTo>
                    <a:pt x="-1651" y="72414"/>
                    <a:pt x="-564" y="64479"/>
                    <a:pt x="4979" y="60204"/>
                  </a:cubicBezTo>
                  <a:cubicBezTo>
                    <a:pt x="28784" y="42052"/>
                    <a:pt x="52298" y="22849"/>
                    <a:pt x="74834" y="3139"/>
                  </a:cubicBezTo>
                  <a:cubicBezTo>
                    <a:pt x="80088" y="-1463"/>
                    <a:pt x="88131" y="-955"/>
                    <a:pt x="92733" y="4334"/>
                  </a:cubicBezTo>
                  <a:cubicBezTo>
                    <a:pt x="97335" y="9588"/>
                    <a:pt x="96827" y="17631"/>
                    <a:pt x="91537" y="22233"/>
                  </a:cubicBezTo>
                  <a:cubicBezTo>
                    <a:pt x="68602" y="42305"/>
                    <a:pt x="44653" y="61871"/>
                    <a:pt x="20378" y="80385"/>
                  </a:cubicBezTo>
                  <a:cubicBezTo>
                    <a:pt x="18059" y="82160"/>
                    <a:pt x="15378" y="82994"/>
                    <a:pt x="12697" y="8299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7" name="Google Shape;287;p7"/>
            <p:cNvSpPr/>
            <p:nvPr/>
          </p:nvSpPr>
          <p:spPr>
            <a:xfrm>
              <a:off x="5075375" y="4728353"/>
              <a:ext cx="87537" cy="91894"/>
            </a:xfrm>
            <a:custGeom>
              <a:avLst/>
              <a:gdLst/>
              <a:ahLst/>
              <a:cxnLst/>
              <a:rect l="l" t="t" r="r" b="b"/>
              <a:pathLst>
                <a:path w="87537" h="91894" extrusionOk="0">
                  <a:moveTo>
                    <a:pt x="74829" y="91894"/>
                  </a:moveTo>
                  <a:cubicBezTo>
                    <a:pt x="71568" y="91894"/>
                    <a:pt x="68344" y="90662"/>
                    <a:pt x="65880" y="88199"/>
                  </a:cubicBezTo>
                  <a:cubicBezTo>
                    <a:pt x="44286" y="66605"/>
                    <a:pt x="23199" y="44032"/>
                    <a:pt x="3126" y="21025"/>
                  </a:cubicBezTo>
                  <a:cubicBezTo>
                    <a:pt x="-1475" y="15735"/>
                    <a:pt x="-931" y="7728"/>
                    <a:pt x="4322" y="3127"/>
                  </a:cubicBezTo>
                  <a:cubicBezTo>
                    <a:pt x="9612" y="-1475"/>
                    <a:pt x="17619" y="-931"/>
                    <a:pt x="22221" y="4322"/>
                  </a:cubicBezTo>
                  <a:cubicBezTo>
                    <a:pt x="41895" y="26895"/>
                    <a:pt x="62619" y="49032"/>
                    <a:pt x="83815" y="70228"/>
                  </a:cubicBezTo>
                  <a:cubicBezTo>
                    <a:pt x="88779" y="75191"/>
                    <a:pt x="88779" y="83199"/>
                    <a:pt x="83815" y="88162"/>
                  </a:cubicBezTo>
                  <a:cubicBezTo>
                    <a:pt x="81315" y="90662"/>
                    <a:pt x="78054" y="91894"/>
                    <a:pt x="74829" y="9189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8" name="Google Shape;288;p7"/>
            <p:cNvSpPr/>
            <p:nvPr/>
          </p:nvSpPr>
          <p:spPr>
            <a:xfrm>
              <a:off x="7024843" y="4726799"/>
              <a:ext cx="87430" cy="91999"/>
            </a:xfrm>
            <a:custGeom>
              <a:avLst/>
              <a:gdLst/>
              <a:ahLst/>
              <a:cxnLst/>
              <a:rect l="l" t="t" r="r" b="b"/>
              <a:pathLst>
                <a:path w="87430" h="91999" extrusionOk="0">
                  <a:moveTo>
                    <a:pt x="12677" y="92000"/>
                  </a:moveTo>
                  <a:cubicBezTo>
                    <a:pt x="9452" y="92000"/>
                    <a:pt x="6191" y="90768"/>
                    <a:pt x="3727" y="88304"/>
                  </a:cubicBezTo>
                  <a:cubicBezTo>
                    <a:pt x="-1236" y="83340"/>
                    <a:pt x="-1236" y="75333"/>
                    <a:pt x="3691" y="70369"/>
                  </a:cubicBezTo>
                  <a:cubicBezTo>
                    <a:pt x="24850" y="49174"/>
                    <a:pt x="45539" y="26964"/>
                    <a:pt x="65176" y="4355"/>
                  </a:cubicBezTo>
                  <a:cubicBezTo>
                    <a:pt x="69778" y="-935"/>
                    <a:pt x="77785" y="-1478"/>
                    <a:pt x="83075" y="3123"/>
                  </a:cubicBezTo>
                  <a:cubicBezTo>
                    <a:pt x="88365" y="7725"/>
                    <a:pt x="88908" y="15732"/>
                    <a:pt x="84307" y="21022"/>
                  </a:cubicBezTo>
                  <a:cubicBezTo>
                    <a:pt x="64271" y="44029"/>
                    <a:pt x="43184" y="66674"/>
                    <a:pt x="21662" y="88268"/>
                  </a:cubicBezTo>
                  <a:cubicBezTo>
                    <a:pt x="19198" y="90768"/>
                    <a:pt x="15937" y="92000"/>
                    <a:pt x="12677" y="9200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9" name="Google Shape;289;p7"/>
            <p:cNvSpPr/>
            <p:nvPr/>
          </p:nvSpPr>
          <p:spPr>
            <a:xfrm>
              <a:off x="4965262" y="4583458"/>
              <a:ext cx="77926" cy="99688"/>
            </a:xfrm>
            <a:custGeom>
              <a:avLst/>
              <a:gdLst/>
              <a:ahLst/>
              <a:cxnLst/>
              <a:rect l="l" t="t" r="r" b="b"/>
              <a:pathLst>
                <a:path w="77926" h="99688" extrusionOk="0">
                  <a:moveTo>
                    <a:pt x="65269" y="99689"/>
                  </a:moveTo>
                  <a:cubicBezTo>
                    <a:pt x="61428" y="99689"/>
                    <a:pt x="57660" y="97950"/>
                    <a:pt x="55160" y="94689"/>
                  </a:cubicBezTo>
                  <a:cubicBezTo>
                    <a:pt x="36718" y="70414"/>
                    <a:pt x="18856" y="45160"/>
                    <a:pt x="2080" y="19653"/>
                  </a:cubicBezTo>
                  <a:cubicBezTo>
                    <a:pt x="-1760" y="13820"/>
                    <a:pt x="-130" y="5921"/>
                    <a:pt x="5704" y="2080"/>
                  </a:cubicBezTo>
                  <a:cubicBezTo>
                    <a:pt x="11537" y="-1760"/>
                    <a:pt x="19436" y="-130"/>
                    <a:pt x="23276" y="5704"/>
                  </a:cubicBezTo>
                  <a:cubicBezTo>
                    <a:pt x="39725" y="30740"/>
                    <a:pt x="57261" y="55486"/>
                    <a:pt x="75341" y="79327"/>
                  </a:cubicBezTo>
                  <a:cubicBezTo>
                    <a:pt x="79580" y="84906"/>
                    <a:pt x="78493" y="92877"/>
                    <a:pt x="72914" y="97080"/>
                  </a:cubicBezTo>
                  <a:cubicBezTo>
                    <a:pt x="70631" y="98856"/>
                    <a:pt x="67950" y="99689"/>
                    <a:pt x="65269" y="9968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0" name="Google Shape;290;p7"/>
            <p:cNvSpPr/>
            <p:nvPr/>
          </p:nvSpPr>
          <p:spPr>
            <a:xfrm>
              <a:off x="7144346" y="4581684"/>
              <a:ext cx="77859" cy="99795"/>
            </a:xfrm>
            <a:custGeom>
              <a:avLst/>
              <a:gdLst/>
              <a:ahLst/>
              <a:cxnLst/>
              <a:rect l="l" t="t" r="r" b="b"/>
              <a:pathLst>
                <a:path w="77859" h="99795" extrusionOk="0">
                  <a:moveTo>
                    <a:pt x="12665" y="99796"/>
                  </a:moveTo>
                  <a:cubicBezTo>
                    <a:pt x="9984" y="99796"/>
                    <a:pt x="7303" y="98962"/>
                    <a:pt x="5021" y="97223"/>
                  </a:cubicBezTo>
                  <a:cubicBezTo>
                    <a:pt x="-559" y="92984"/>
                    <a:pt x="-1646" y="85050"/>
                    <a:pt x="2557" y="79470"/>
                  </a:cubicBezTo>
                  <a:cubicBezTo>
                    <a:pt x="20637" y="55593"/>
                    <a:pt x="38136" y="30774"/>
                    <a:pt x="54550" y="5738"/>
                  </a:cubicBezTo>
                  <a:cubicBezTo>
                    <a:pt x="58390" y="-131"/>
                    <a:pt x="66252" y="-1762"/>
                    <a:pt x="72122" y="2079"/>
                  </a:cubicBezTo>
                  <a:cubicBezTo>
                    <a:pt x="77991" y="5919"/>
                    <a:pt x="79622" y="13782"/>
                    <a:pt x="75781" y="19651"/>
                  </a:cubicBezTo>
                  <a:cubicBezTo>
                    <a:pt x="59042" y="45195"/>
                    <a:pt x="41216" y="70484"/>
                    <a:pt x="22810" y="94796"/>
                  </a:cubicBezTo>
                  <a:cubicBezTo>
                    <a:pt x="20310" y="98057"/>
                    <a:pt x="16506" y="99796"/>
                    <a:pt x="12665" y="99796"/>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1" name="Google Shape;291;p7"/>
            <p:cNvSpPr/>
            <p:nvPr/>
          </p:nvSpPr>
          <p:spPr>
            <a:xfrm>
              <a:off x="4875964" y="4425014"/>
              <a:ext cx="67324" cy="106140"/>
            </a:xfrm>
            <a:custGeom>
              <a:avLst/>
              <a:gdLst/>
              <a:ahLst/>
              <a:cxnLst/>
              <a:rect l="l" t="t" r="r" b="b"/>
              <a:pathLst>
                <a:path w="67324" h="106140" extrusionOk="0">
                  <a:moveTo>
                    <a:pt x="54639" y="106140"/>
                  </a:moveTo>
                  <a:cubicBezTo>
                    <a:pt x="50219" y="106140"/>
                    <a:pt x="45907" y="103822"/>
                    <a:pt x="43588" y="99691"/>
                  </a:cubicBezTo>
                  <a:cubicBezTo>
                    <a:pt x="28588" y="73097"/>
                    <a:pt x="14349" y="45669"/>
                    <a:pt x="1233" y="18170"/>
                  </a:cubicBezTo>
                  <a:cubicBezTo>
                    <a:pt x="-1774" y="11829"/>
                    <a:pt x="907" y="4293"/>
                    <a:pt x="7212" y="1249"/>
                  </a:cubicBezTo>
                  <a:cubicBezTo>
                    <a:pt x="13516" y="-1794"/>
                    <a:pt x="21089" y="923"/>
                    <a:pt x="24132" y="7227"/>
                  </a:cubicBezTo>
                  <a:cubicBezTo>
                    <a:pt x="36994" y="34184"/>
                    <a:pt x="50980" y="61104"/>
                    <a:pt x="65690" y="87191"/>
                  </a:cubicBezTo>
                  <a:cubicBezTo>
                    <a:pt x="69132" y="93278"/>
                    <a:pt x="66958" y="101032"/>
                    <a:pt x="60871" y="104474"/>
                  </a:cubicBezTo>
                  <a:cubicBezTo>
                    <a:pt x="58878" y="105597"/>
                    <a:pt x="56741" y="106140"/>
                    <a:pt x="54639" y="10614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2" name="Google Shape;292;p7"/>
            <p:cNvSpPr/>
            <p:nvPr/>
          </p:nvSpPr>
          <p:spPr>
            <a:xfrm>
              <a:off x="7244126" y="4422820"/>
              <a:ext cx="67234" cy="106341"/>
            </a:xfrm>
            <a:custGeom>
              <a:avLst/>
              <a:gdLst/>
              <a:ahLst/>
              <a:cxnLst/>
              <a:rect l="l" t="t" r="r" b="b"/>
              <a:pathLst>
                <a:path w="67234" h="106341" extrusionOk="0">
                  <a:moveTo>
                    <a:pt x="12668" y="106341"/>
                  </a:moveTo>
                  <a:cubicBezTo>
                    <a:pt x="10567" y="106341"/>
                    <a:pt x="8429" y="105834"/>
                    <a:pt x="6473" y="104711"/>
                  </a:cubicBezTo>
                  <a:cubicBezTo>
                    <a:pt x="350" y="101269"/>
                    <a:pt x="-1788" y="93551"/>
                    <a:pt x="1618" y="87428"/>
                  </a:cubicBezTo>
                  <a:cubicBezTo>
                    <a:pt x="16292" y="61305"/>
                    <a:pt x="30241" y="34312"/>
                    <a:pt x="43103" y="7247"/>
                  </a:cubicBezTo>
                  <a:cubicBezTo>
                    <a:pt x="46110" y="907"/>
                    <a:pt x="53683" y="-1774"/>
                    <a:pt x="59987" y="1233"/>
                  </a:cubicBezTo>
                  <a:cubicBezTo>
                    <a:pt x="66328" y="4240"/>
                    <a:pt x="69009" y="11813"/>
                    <a:pt x="66002" y="18117"/>
                  </a:cubicBezTo>
                  <a:cubicBezTo>
                    <a:pt x="52922" y="45689"/>
                    <a:pt x="38683" y="73189"/>
                    <a:pt x="23719" y="99819"/>
                  </a:cubicBezTo>
                  <a:cubicBezTo>
                    <a:pt x="21437" y="104022"/>
                    <a:pt x="17125" y="106341"/>
                    <a:pt x="12668" y="10634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3" name="Google Shape;293;p7"/>
            <p:cNvSpPr/>
            <p:nvPr/>
          </p:nvSpPr>
          <p:spPr>
            <a:xfrm>
              <a:off x="4766104" y="4079165"/>
              <a:ext cx="43851" cy="114489"/>
            </a:xfrm>
            <a:custGeom>
              <a:avLst/>
              <a:gdLst/>
              <a:ahLst/>
              <a:cxnLst/>
              <a:rect l="l" t="t" r="r" b="b"/>
              <a:pathLst>
                <a:path w="43851" h="114489" extrusionOk="0">
                  <a:moveTo>
                    <a:pt x="31166" y="114490"/>
                  </a:moveTo>
                  <a:cubicBezTo>
                    <a:pt x="25441" y="114490"/>
                    <a:pt x="20260" y="110613"/>
                    <a:pt x="18847" y="104816"/>
                  </a:cubicBezTo>
                  <a:cubicBezTo>
                    <a:pt x="11637" y="75178"/>
                    <a:pt x="5369" y="44889"/>
                    <a:pt x="188" y="14816"/>
                  </a:cubicBezTo>
                  <a:cubicBezTo>
                    <a:pt x="-1008" y="7896"/>
                    <a:pt x="3630" y="1374"/>
                    <a:pt x="10550" y="179"/>
                  </a:cubicBezTo>
                  <a:cubicBezTo>
                    <a:pt x="17507" y="-981"/>
                    <a:pt x="23992" y="3621"/>
                    <a:pt x="25188" y="10541"/>
                  </a:cubicBezTo>
                  <a:cubicBezTo>
                    <a:pt x="30260" y="40034"/>
                    <a:pt x="36420" y="69744"/>
                    <a:pt x="43485" y="98838"/>
                  </a:cubicBezTo>
                  <a:cubicBezTo>
                    <a:pt x="45151" y="105649"/>
                    <a:pt x="40985" y="112497"/>
                    <a:pt x="34173" y="114164"/>
                  </a:cubicBezTo>
                  <a:cubicBezTo>
                    <a:pt x="33159" y="114381"/>
                    <a:pt x="32144" y="114490"/>
                    <a:pt x="31166" y="11449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4" name="Google Shape;294;p7"/>
            <p:cNvSpPr/>
            <p:nvPr/>
          </p:nvSpPr>
          <p:spPr>
            <a:xfrm>
              <a:off x="7377009" y="4076340"/>
              <a:ext cx="43694" cy="114561"/>
            </a:xfrm>
            <a:custGeom>
              <a:avLst/>
              <a:gdLst/>
              <a:ahLst/>
              <a:cxnLst/>
              <a:rect l="l" t="t" r="r" b="b"/>
              <a:pathLst>
                <a:path w="43694" h="114561" extrusionOk="0">
                  <a:moveTo>
                    <a:pt x="12684" y="114561"/>
                  </a:moveTo>
                  <a:cubicBezTo>
                    <a:pt x="11706" y="114561"/>
                    <a:pt x="10691" y="114453"/>
                    <a:pt x="9713" y="114199"/>
                  </a:cubicBezTo>
                  <a:cubicBezTo>
                    <a:pt x="2901" y="112569"/>
                    <a:pt x="-1302" y="105721"/>
                    <a:pt x="365" y="98909"/>
                  </a:cubicBezTo>
                  <a:cubicBezTo>
                    <a:pt x="7394" y="69815"/>
                    <a:pt x="13481" y="40105"/>
                    <a:pt x="18481" y="10576"/>
                  </a:cubicBezTo>
                  <a:cubicBezTo>
                    <a:pt x="19640" y="3656"/>
                    <a:pt x="26198" y="-982"/>
                    <a:pt x="33118" y="178"/>
                  </a:cubicBezTo>
                  <a:cubicBezTo>
                    <a:pt x="40039" y="1337"/>
                    <a:pt x="44676" y="7895"/>
                    <a:pt x="43517" y="14815"/>
                  </a:cubicBezTo>
                  <a:cubicBezTo>
                    <a:pt x="38408" y="44888"/>
                    <a:pt x="32212" y="75177"/>
                    <a:pt x="25039" y="104851"/>
                  </a:cubicBezTo>
                  <a:cubicBezTo>
                    <a:pt x="23589" y="110685"/>
                    <a:pt x="18408" y="114561"/>
                    <a:pt x="12684" y="11456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5" name="Google Shape;295;p7"/>
            <p:cNvSpPr/>
            <p:nvPr/>
          </p:nvSpPr>
          <p:spPr>
            <a:xfrm>
              <a:off x="4747588" y="3898143"/>
              <a:ext cx="31562" cy="116165"/>
            </a:xfrm>
            <a:custGeom>
              <a:avLst/>
              <a:gdLst/>
              <a:ahLst/>
              <a:cxnLst/>
              <a:rect l="l" t="t" r="r" b="b"/>
              <a:pathLst>
                <a:path w="31562" h="116165" extrusionOk="0">
                  <a:moveTo>
                    <a:pt x="18849" y="116165"/>
                  </a:moveTo>
                  <a:cubicBezTo>
                    <a:pt x="12436" y="116165"/>
                    <a:pt x="6929" y="111310"/>
                    <a:pt x="6240" y="104789"/>
                  </a:cubicBezTo>
                  <a:cubicBezTo>
                    <a:pt x="3161" y="74535"/>
                    <a:pt x="1059" y="43666"/>
                    <a:pt x="8" y="13122"/>
                  </a:cubicBezTo>
                  <a:cubicBezTo>
                    <a:pt x="-245" y="6129"/>
                    <a:pt x="5262" y="260"/>
                    <a:pt x="12255" y="6"/>
                  </a:cubicBezTo>
                  <a:cubicBezTo>
                    <a:pt x="19284" y="-211"/>
                    <a:pt x="25117" y="5260"/>
                    <a:pt x="25371" y="12253"/>
                  </a:cubicBezTo>
                  <a:cubicBezTo>
                    <a:pt x="26385" y="42252"/>
                    <a:pt x="28450" y="72506"/>
                    <a:pt x="31494" y="102216"/>
                  </a:cubicBezTo>
                  <a:cubicBezTo>
                    <a:pt x="32218" y="109173"/>
                    <a:pt x="27146" y="115404"/>
                    <a:pt x="20153" y="116129"/>
                  </a:cubicBezTo>
                  <a:cubicBezTo>
                    <a:pt x="19719" y="116165"/>
                    <a:pt x="19284" y="116165"/>
                    <a:pt x="18849" y="11616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6" name="Google Shape;296;p7"/>
            <p:cNvSpPr/>
            <p:nvPr/>
          </p:nvSpPr>
          <p:spPr>
            <a:xfrm>
              <a:off x="7407450" y="3895284"/>
              <a:ext cx="31379" cy="116234"/>
            </a:xfrm>
            <a:custGeom>
              <a:avLst/>
              <a:gdLst/>
              <a:ahLst/>
              <a:cxnLst/>
              <a:rect l="l" t="t" r="r" b="b"/>
              <a:pathLst>
                <a:path w="31379" h="116234" extrusionOk="0">
                  <a:moveTo>
                    <a:pt x="12677" y="116234"/>
                  </a:moveTo>
                  <a:cubicBezTo>
                    <a:pt x="12242" y="116234"/>
                    <a:pt x="11844" y="116198"/>
                    <a:pt x="11409" y="116162"/>
                  </a:cubicBezTo>
                  <a:cubicBezTo>
                    <a:pt x="4452" y="115474"/>
                    <a:pt x="-656" y="109242"/>
                    <a:pt x="68" y="102285"/>
                  </a:cubicBezTo>
                  <a:cubicBezTo>
                    <a:pt x="3040" y="72575"/>
                    <a:pt x="5032" y="42285"/>
                    <a:pt x="6011" y="12285"/>
                  </a:cubicBezTo>
                  <a:cubicBezTo>
                    <a:pt x="6228" y="5293"/>
                    <a:pt x="12242" y="-142"/>
                    <a:pt x="19090" y="3"/>
                  </a:cubicBezTo>
                  <a:cubicBezTo>
                    <a:pt x="26083" y="220"/>
                    <a:pt x="31590" y="6090"/>
                    <a:pt x="31373" y="13083"/>
                  </a:cubicBezTo>
                  <a:cubicBezTo>
                    <a:pt x="30394" y="43662"/>
                    <a:pt x="28366" y="74495"/>
                    <a:pt x="25322" y="104785"/>
                  </a:cubicBezTo>
                  <a:cubicBezTo>
                    <a:pt x="24634" y="111343"/>
                    <a:pt x="19126" y="116234"/>
                    <a:pt x="12677" y="11623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7" name="Google Shape;297;p7"/>
            <p:cNvSpPr/>
            <p:nvPr/>
          </p:nvSpPr>
          <p:spPr>
            <a:xfrm>
              <a:off x="4747516" y="3716239"/>
              <a:ext cx="31417" cy="116185"/>
            </a:xfrm>
            <a:custGeom>
              <a:avLst/>
              <a:gdLst/>
              <a:ahLst/>
              <a:cxnLst/>
              <a:rect l="l" t="t" r="r" b="b"/>
              <a:pathLst>
                <a:path w="31417" h="116185" extrusionOk="0">
                  <a:moveTo>
                    <a:pt x="12690" y="116185"/>
                  </a:moveTo>
                  <a:cubicBezTo>
                    <a:pt x="12545" y="116185"/>
                    <a:pt x="12400" y="116185"/>
                    <a:pt x="12255" y="116185"/>
                  </a:cubicBezTo>
                  <a:cubicBezTo>
                    <a:pt x="5262" y="115968"/>
                    <a:pt x="-245" y="110099"/>
                    <a:pt x="8" y="103106"/>
                  </a:cubicBezTo>
                  <a:cubicBezTo>
                    <a:pt x="1023" y="72562"/>
                    <a:pt x="3088" y="41729"/>
                    <a:pt x="6132" y="11403"/>
                  </a:cubicBezTo>
                  <a:cubicBezTo>
                    <a:pt x="6820" y="4447"/>
                    <a:pt x="13052" y="-626"/>
                    <a:pt x="20008" y="63"/>
                  </a:cubicBezTo>
                  <a:cubicBezTo>
                    <a:pt x="26965" y="751"/>
                    <a:pt x="32073" y="6983"/>
                    <a:pt x="31349" y="13939"/>
                  </a:cubicBezTo>
                  <a:cubicBezTo>
                    <a:pt x="28342" y="43686"/>
                    <a:pt x="26313" y="73939"/>
                    <a:pt x="25334" y="103903"/>
                  </a:cubicBezTo>
                  <a:cubicBezTo>
                    <a:pt x="25153" y="110787"/>
                    <a:pt x="19501" y="116185"/>
                    <a:pt x="12690" y="11618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8" name="Google Shape;298;p7"/>
            <p:cNvSpPr/>
            <p:nvPr/>
          </p:nvSpPr>
          <p:spPr>
            <a:xfrm>
              <a:off x="7407015" y="3713400"/>
              <a:ext cx="31599" cy="116198"/>
            </a:xfrm>
            <a:custGeom>
              <a:avLst/>
              <a:gdLst/>
              <a:ahLst/>
              <a:cxnLst/>
              <a:rect l="l" t="t" r="r" b="b"/>
              <a:pathLst>
                <a:path w="31599" h="116198" extrusionOk="0">
                  <a:moveTo>
                    <a:pt x="18946" y="116198"/>
                  </a:moveTo>
                  <a:cubicBezTo>
                    <a:pt x="12134" y="116198"/>
                    <a:pt x="6518" y="110799"/>
                    <a:pt x="6264" y="103952"/>
                  </a:cubicBezTo>
                  <a:cubicBezTo>
                    <a:pt x="5214" y="74024"/>
                    <a:pt x="3149" y="43734"/>
                    <a:pt x="69" y="13988"/>
                  </a:cubicBezTo>
                  <a:cubicBezTo>
                    <a:pt x="-656" y="7032"/>
                    <a:pt x="4417" y="800"/>
                    <a:pt x="11373" y="75"/>
                  </a:cubicBezTo>
                  <a:cubicBezTo>
                    <a:pt x="18366" y="-686"/>
                    <a:pt x="24562" y="4423"/>
                    <a:pt x="25286" y="11380"/>
                  </a:cubicBezTo>
                  <a:cubicBezTo>
                    <a:pt x="28402" y="41706"/>
                    <a:pt x="30540" y="72539"/>
                    <a:pt x="31591" y="103046"/>
                  </a:cubicBezTo>
                  <a:cubicBezTo>
                    <a:pt x="31844" y="110039"/>
                    <a:pt x="26373" y="115908"/>
                    <a:pt x="19344" y="116162"/>
                  </a:cubicBezTo>
                  <a:cubicBezTo>
                    <a:pt x="19236" y="116198"/>
                    <a:pt x="19091" y="116198"/>
                    <a:pt x="18946" y="116198"/>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9" name="Google Shape;299;p7"/>
            <p:cNvSpPr/>
            <p:nvPr/>
          </p:nvSpPr>
          <p:spPr>
            <a:xfrm>
              <a:off x="4765851" y="3536807"/>
              <a:ext cx="43765" cy="114567"/>
            </a:xfrm>
            <a:custGeom>
              <a:avLst/>
              <a:gdLst/>
              <a:ahLst/>
              <a:cxnLst/>
              <a:rect l="l" t="t" r="r" b="b"/>
              <a:pathLst>
                <a:path w="43765" h="114567" extrusionOk="0">
                  <a:moveTo>
                    <a:pt x="12688" y="114567"/>
                  </a:moveTo>
                  <a:cubicBezTo>
                    <a:pt x="11963" y="114567"/>
                    <a:pt x="11275" y="114495"/>
                    <a:pt x="10550" y="114386"/>
                  </a:cubicBezTo>
                  <a:cubicBezTo>
                    <a:pt x="3630" y="113191"/>
                    <a:pt x="-1008" y="106669"/>
                    <a:pt x="188" y="99749"/>
                  </a:cubicBezTo>
                  <a:cubicBezTo>
                    <a:pt x="5333" y="69640"/>
                    <a:pt x="11565" y="39350"/>
                    <a:pt x="18738" y="9713"/>
                  </a:cubicBezTo>
                  <a:cubicBezTo>
                    <a:pt x="20369" y="2901"/>
                    <a:pt x="27217" y="-1302"/>
                    <a:pt x="34065" y="365"/>
                  </a:cubicBezTo>
                  <a:cubicBezTo>
                    <a:pt x="40876" y="2032"/>
                    <a:pt x="45043" y="8879"/>
                    <a:pt x="43412" y="15691"/>
                  </a:cubicBezTo>
                  <a:cubicBezTo>
                    <a:pt x="36383" y="44749"/>
                    <a:pt x="30260" y="74459"/>
                    <a:pt x="25224" y="103988"/>
                  </a:cubicBezTo>
                  <a:cubicBezTo>
                    <a:pt x="24101" y="110220"/>
                    <a:pt x="18738" y="114567"/>
                    <a:pt x="12688" y="11456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0" name="Google Shape;300;p7"/>
            <p:cNvSpPr/>
            <p:nvPr/>
          </p:nvSpPr>
          <p:spPr>
            <a:xfrm>
              <a:off x="7376028" y="3534135"/>
              <a:ext cx="43924" cy="114485"/>
            </a:xfrm>
            <a:custGeom>
              <a:avLst/>
              <a:gdLst/>
              <a:ahLst/>
              <a:cxnLst/>
              <a:rect l="l" t="t" r="r" b="b"/>
              <a:pathLst>
                <a:path w="43924" h="114485" extrusionOk="0">
                  <a:moveTo>
                    <a:pt x="31237" y="114485"/>
                  </a:moveTo>
                  <a:cubicBezTo>
                    <a:pt x="25186" y="114485"/>
                    <a:pt x="19823" y="110138"/>
                    <a:pt x="18736" y="103942"/>
                  </a:cubicBezTo>
                  <a:cubicBezTo>
                    <a:pt x="13628" y="74449"/>
                    <a:pt x="7468" y="44739"/>
                    <a:pt x="367" y="15681"/>
                  </a:cubicBezTo>
                  <a:cubicBezTo>
                    <a:pt x="-1300" y="8870"/>
                    <a:pt x="2867" y="2022"/>
                    <a:pt x="9678" y="355"/>
                  </a:cubicBezTo>
                  <a:cubicBezTo>
                    <a:pt x="16454" y="-1275"/>
                    <a:pt x="23338" y="2855"/>
                    <a:pt x="25004" y="9667"/>
                  </a:cubicBezTo>
                  <a:cubicBezTo>
                    <a:pt x="32251" y="39304"/>
                    <a:pt x="38555" y="69594"/>
                    <a:pt x="43736" y="99630"/>
                  </a:cubicBezTo>
                  <a:cubicBezTo>
                    <a:pt x="44932" y="106551"/>
                    <a:pt x="40295" y="113109"/>
                    <a:pt x="33410" y="114268"/>
                  </a:cubicBezTo>
                  <a:cubicBezTo>
                    <a:pt x="32686" y="114413"/>
                    <a:pt x="31961" y="114485"/>
                    <a:pt x="31237" y="11448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1" name="Google Shape;301;p7"/>
            <p:cNvSpPr/>
            <p:nvPr/>
          </p:nvSpPr>
          <p:spPr>
            <a:xfrm>
              <a:off x="4875422" y="3198682"/>
              <a:ext cx="67324" cy="106280"/>
            </a:xfrm>
            <a:custGeom>
              <a:avLst/>
              <a:gdLst/>
              <a:ahLst/>
              <a:cxnLst/>
              <a:rect l="l" t="t" r="r" b="b"/>
              <a:pathLst>
                <a:path w="67324" h="106280" extrusionOk="0">
                  <a:moveTo>
                    <a:pt x="12682" y="106280"/>
                  </a:moveTo>
                  <a:cubicBezTo>
                    <a:pt x="10870" y="106280"/>
                    <a:pt x="8986" y="105882"/>
                    <a:pt x="7247" y="105048"/>
                  </a:cubicBezTo>
                  <a:cubicBezTo>
                    <a:pt x="907" y="102041"/>
                    <a:pt x="-1774" y="94469"/>
                    <a:pt x="1233" y="88128"/>
                  </a:cubicBezTo>
                  <a:cubicBezTo>
                    <a:pt x="14349" y="60556"/>
                    <a:pt x="28588" y="33092"/>
                    <a:pt x="43588" y="6461"/>
                  </a:cubicBezTo>
                  <a:cubicBezTo>
                    <a:pt x="47030" y="338"/>
                    <a:pt x="54747" y="-1799"/>
                    <a:pt x="60870" y="1643"/>
                  </a:cubicBezTo>
                  <a:cubicBezTo>
                    <a:pt x="66957" y="5085"/>
                    <a:pt x="69131" y="12802"/>
                    <a:pt x="65689" y="18925"/>
                  </a:cubicBezTo>
                  <a:cubicBezTo>
                    <a:pt x="50979" y="45048"/>
                    <a:pt x="36994" y="72005"/>
                    <a:pt x="24131" y="99070"/>
                  </a:cubicBezTo>
                  <a:cubicBezTo>
                    <a:pt x="21957" y="103599"/>
                    <a:pt x="17428" y="106280"/>
                    <a:pt x="12682" y="10628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2" name="Google Shape;302;p7"/>
            <p:cNvSpPr/>
            <p:nvPr/>
          </p:nvSpPr>
          <p:spPr>
            <a:xfrm>
              <a:off x="7242434" y="3196689"/>
              <a:ext cx="67405" cy="106062"/>
            </a:xfrm>
            <a:custGeom>
              <a:avLst/>
              <a:gdLst/>
              <a:ahLst/>
              <a:cxnLst/>
              <a:rect l="l" t="t" r="r" b="b"/>
              <a:pathLst>
                <a:path w="67405" h="106062" extrusionOk="0">
                  <a:moveTo>
                    <a:pt x="54686" y="106063"/>
                  </a:moveTo>
                  <a:cubicBezTo>
                    <a:pt x="49939" y="106063"/>
                    <a:pt x="45410" y="103418"/>
                    <a:pt x="43237" y="98853"/>
                  </a:cubicBezTo>
                  <a:cubicBezTo>
                    <a:pt x="30375" y="71896"/>
                    <a:pt x="16353" y="45012"/>
                    <a:pt x="1643" y="18925"/>
                  </a:cubicBezTo>
                  <a:cubicBezTo>
                    <a:pt x="-1799" y="12838"/>
                    <a:pt x="338" y="5085"/>
                    <a:pt x="6461" y="1643"/>
                  </a:cubicBezTo>
                  <a:cubicBezTo>
                    <a:pt x="12548" y="-1799"/>
                    <a:pt x="20302" y="338"/>
                    <a:pt x="23744" y="6462"/>
                  </a:cubicBezTo>
                  <a:cubicBezTo>
                    <a:pt x="38744" y="33019"/>
                    <a:pt x="53019" y="60447"/>
                    <a:pt x="66172" y="87911"/>
                  </a:cubicBezTo>
                  <a:cubicBezTo>
                    <a:pt x="69179" y="94215"/>
                    <a:pt x="66498" y="101787"/>
                    <a:pt x="60193" y="104831"/>
                  </a:cubicBezTo>
                  <a:cubicBezTo>
                    <a:pt x="58382" y="105664"/>
                    <a:pt x="56498" y="106063"/>
                    <a:pt x="54686" y="10606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3" name="Google Shape;303;p7"/>
            <p:cNvSpPr/>
            <p:nvPr/>
          </p:nvSpPr>
          <p:spPr>
            <a:xfrm>
              <a:off x="4964730" y="3046471"/>
              <a:ext cx="77915" cy="99759"/>
            </a:xfrm>
            <a:custGeom>
              <a:avLst/>
              <a:gdLst/>
              <a:ahLst/>
              <a:cxnLst/>
              <a:rect l="l" t="t" r="r" b="b"/>
              <a:pathLst>
                <a:path w="77915" h="99759" extrusionOk="0">
                  <a:moveTo>
                    <a:pt x="12686" y="99759"/>
                  </a:moveTo>
                  <a:cubicBezTo>
                    <a:pt x="10294" y="99759"/>
                    <a:pt x="7867" y="99071"/>
                    <a:pt x="5729" y="97694"/>
                  </a:cubicBezTo>
                  <a:cubicBezTo>
                    <a:pt x="-141" y="93853"/>
                    <a:pt x="-1771" y="85991"/>
                    <a:pt x="2106" y="80122"/>
                  </a:cubicBezTo>
                  <a:cubicBezTo>
                    <a:pt x="18845" y="54614"/>
                    <a:pt x="36707" y="29325"/>
                    <a:pt x="55149" y="5013"/>
                  </a:cubicBezTo>
                  <a:cubicBezTo>
                    <a:pt x="59388" y="-567"/>
                    <a:pt x="67323" y="-1653"/>
                    <a:pt x="72903" y="2586"/>
                  </a:cubicBezTo>
                  <a:cubicBezTo>
                    <a:pt x="78482" y="6825"/>
                    <a:pt x="79569" y="14760"/>
                    <a:pt x="75330" y="20339"/>
                  </a:cubicBezTo>
                  <a:cubicBezTo>
                    <a:pt x="57214" y="44216"/>
                    <a:pt x="39714" y="68999"/>
                    <a:pt x="23265" y="94035"/>
                  </a:cubicBezTo>
                  <a:cubicBezTo>
                    <a:pt x="20838" y="97730"/>
                    <a:pt x="16816" y="99759"/>
                    <a:pt x="12686" y="9975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4" name="Google Shape;304;p7"/>
            <p:cNvSpPr/>
            <p:nvPr/>
          </p:nvSpPr>
          <p:spPr>
            <a:xfrm>
              <a:off x="7142325" y="3044804"/>
              <a:ext cx="78008" cy="99614"/>
            </a:xfrm>
            <a:custGeom>
              <a:avLst/>
              <a:gdLst/>
              <a:ahLst/>
              <a:cxnLst/>
              <a:rect l="l" t="t" r="r" b="b"/>
              <a:pathLst>
                <a:path w="78008" h="99614" extrusionOk="0">
                  <a:moveTo>
                    <a:pt x="65339" y="99614"/>
                  </a:moveTo>
                  <a:cubicBezTo>
                    <a:pt x="61209" y="99614"/>
                    <a:pt x="57187" y="97622"/>
                    <a:pt x="54723" y="93890"/>
                  </a:cubicBezTo>
                  <a:cubicBezTo>
                    <a:pt x="38274" y="68926"/>
                    <a:pt x="20738" y="44180"/>
                    <a:pt x="2586" y="20339"/>
                  </a:cubicBezTo>
                  <a:cubicBezTo>
                    <a:pt x="-1654" y="14760"/>
                    <a:pt x="-566" y="6825"/>
                    <a:pt x="5013" y="2586"/>
                  </a:cubicBezTo>
                  <a:cubicBezTo>
                    <a:pt x="10593" y="-1653"/>
                    <a:pt x="18564" y="-567"/>
                    <a:pt x="22803" y="5013"/>
                  </a:cubicBezTo>
                  <a:cubicBezTo>
                    <a:pt x="41281" y="29325"/>
                    <a:pt x="59180" y="54542"/>
                    <a:pt x="75919" y="79977"/>
                  </a:cubicBezTo>
                  <a:cubicBezTo>
                    <a:pt x="79760" y="85810"/>
                    <a:pt x="78165" y="93709"/>
                    <a:pt x="72296" y="97549"/>
                  </a:cubicBezTo>
                  <a:cubicBezTo>
                    <a:pt x="70158" y="98926"/>
                    <a:pt x="67767" y="99614"/>
                    <a:pt x="65339" y="9961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5" name="Google Shape;305;p7"/>
            <p:cNvSpPr/>
            <p:nvPr/>
          </p:nvSpPr>
          <p:spPr>
            <a:xfrm>
              <a:off x="5074763" y="2909211"/>
              <a:ext cx="87497" cy="91947"/>
            </a:xfrm>
            <a:custGeom>
              <a:avLst/>
              <a:gdLst/>
              <a:ahLst/>
              <a:cxnLst/>
              <a:rect l="l" t="t" r="r" b="b"/>
              <a:pathLst>
                <a:path w="87497" h="91947" extrusionOk="0">
                  <a:moveTo>
                    <a:pt x="12688" y="91947"/>
                  </a:moveTo>
                  <a:cubicBezTo>
                    <a:pt x="9717" y="91947"/>
                    <a:pt x="6783" y="90933"/>
                    <a:pt x="4355" y="88831"/>
                  </a:cubicBezTo>
                  <a:cubicBezTo>
                    <a:pt x="-935" y="84230"/>
                    <a:pt x="-1478" y="76223"/>
                    <a:pt x="3123" y="70933"/>
                  </a:cubicBezTo>
                  <a:cubicBezTo>
                    <a:pt x="23195" y="47926"/>
                    <a:pt x="44282" y="25317"/>
                    <a:pt x="65840" y="3723"/>
                  </a:cubicBezTo>
                  <a:cubicBezTo>
                    <a:pt x="70804" y="-1241"/>
                    <a:pt x="78811" y="-1241"/>
                    <a:pt x="83775" y="3723"/>
                  </a:cubicBezTo>
                  <a:cubicBezTo>
                    <a:pt x="88739" y="8687"/>
                    <a:pt x="88739" y="16694"/>
                    <a:pt x="83775" y="21658"/>
                  </a:cubicBezTo>
                  <a:cubicBezTo>
                    <a:pt x="62616" y="42853"/>
                    <a:pt x="41891" y="65027"/>
                    <a:pt x="22217" y="87599"/>
                  </a:cubicBezTo>
                  <a:cubicBezTo>
                    <a:pt x="19754" y="90498"/>
                    <a:pt x="16203" y="91947"/>
                    <a:pt x="12688" y="9194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6" name="Google Shape;306;p7"/>
            <p:cNvSpPr/>
            <p:nvPr/>
          </p:nvSpPr>
          <p:spPr>
            <a:xfrm>
              <a:off x="7022565" y="2907794"/>
              <a:ext cx="87610" cy="91843"/>
            </a:xfrm>
            <a:custGeom>
              <a:avLst/>
              <a:gdLst/>
              <a:ahLst/>
              <a:cxnLst/>
              <a:rect l="l" t="t" r="r" b="b"/>
              <a:pathLst>
                <a:path w="87610" h="91843" extrusionOk="0">
                  <a:moveTo>
                    <a:pt x="74918" y="91843"/>
                  </a:moveTo>
                  <a:cubicBezTo>
                    <a:pt x="71404" y="91843"/>
                    <a:pt x="67889" y="90394"/>
                    <a:pt x="65353" y="87495"/>
                  </a:cubicBezTo>
                  <a:cubicBezTo>
                    <a:pt x="45643" y="64959"/>
                    <a:pt x="24918" y="42821"/>
                    <a:pt x="3723" y="21662"/>
                  </a:cubicBezTo>
                  <a:cubicBezTo>
                    <a:pt x="-1241" y="16698"/>
                    <a:pt x="-1241" y="8691"/>
                    <a:pt x="3723" y="3727"/>
                  </a:cubicBezTo>
                  <a:cubicBezTo>
                    <a:pt x="8687" y="-1236"/>
                    <a:pt x="16694" y="-1236"/>
                    <a:pt x="21657" y="3691"/>
                  </a:cubicBezTo>
                  <a:cubicBezTo>
                    <a:pt x="43252" y="25249"/>
                    <a:pt x="64375" y="47821"/>
                    <a:pt x="84484" y="70792"/>
                  </a:cubicBezTo>
                  <a:cubicBezTo>
                    <a:pt x="89085" y="76082"/>
                    <a:pt x="88542" y="84090"/>
                    <a:pt x="83288" y="88691"/>
                  </a:cubicBezTo>
                  <a:cubicBezTo>
                    <a:pt x="80860" y="90792"/>
                    <a:pt x="77889" y="91843"/>
                    <a:pt x="74918" y="9184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7" name="Google Shape;307;p7"/>
            <p:cNvSpPr/>
            <p:nvPr/>
          </p:nvSpPr>
          <p:spPr>
            <a:xfrm>
              <a:off x="5203382" y="2789479"/>
              <a:ext cx="95893" cy="82911"/>
            </a:xfrm>
            <a:custGeom>
              <a:avLst/>
              <a:gdLst/>
              <a:ahLst/>
              <a:cxnLst/>
              <a:rect l="l" t="t" r="r" b="b"/>
              <a:pathLst>
                <a:path w="95893" h="82911" extrusionOk="0">
                  <a:moveTo>
                    <a:pt x="12692" y="82912"/>
                  </a:moveTo>
                  <a:cubicBezTo>
                    <a:pt x="9141" y="82912"/>
                    <a:pt x="5627" y="81426"/>
                    <a:pt x="3127" y="78564"/>
                  </a:cubicBezTo>
                  <a:cubicBezTo>
                    <a:pt x="-1475" y="73274"/>
                    <a:pt x="-931" y="65267"/>
                    <a:pt x="4322" y="60665"/>
                  </a:cubicBezTo>
                  <a:cubicBezTo>
                    <a:pt x="27293" y="40593"/>
                    <a:pt x="51279" y="21064"/>
                    <a:pt x="75554" y="2586"/>
                  </a:cubicBezTo>
                  <a:cubicBezTo>
                    <a:pt x="81134" y="-1653"/>
                    <a:pt x="89068" y="-567"/>
                    <a:pt x="93308" y="5013"/>
                  </a:cubicBezTo>
                  <a:cubicBezTo>
                    <a:pt x="97547" y="10593"/>
                    <a:pt x="96460" y="18528"/>
                    <a:pt x="90880" y="22767"/>
                  </a:cubicBezTo>
                  <a:cubicBezTo>
                    <a:pt x="67076" y="40883"/>
                    <a:pt x="43561" y="60049"/>
                    <a:pt x="20989" y="79759"/>
                  </a:cubicBezTo>
                  <a:cubicBezTo>
                    <a:pt x="18634" y="81897"/>
                    <a:pt x="15663" y="82912"/>
                    <a:pt x="12692" y="82912"/>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8" name="Google Shape;308;p7"/>
            <p:cNvSpPr/>
            <p:nvPr/>
          </p:nvSpPr>
          <p:spPr>
            <a:xfrm>
              <a:off x="6885296" y="2788240"/>
              <a:ext cx="96034" cy="82810"/>
            </a:xfrm>
            <a:custGeom>
              <a:avLst/>
              <a:gdLst/>
              <a:ahLst/>
              <a:cxnLst/>
              <a:rect l="l" t="t" r="r" b="b"/>
              <a:pathLst>
                <a:path w="96034" h="82810" extrusionOk="0">
                  <a:moveTo>
                    <a:pt x="83346" y="82810"/>
                  </a:moveTo>
                  <a:cubicBezTo>
                    <a:pt x="80412" y="82810"/>
                    <a:pt x="77440" y="81796"/>
                    <a:pt x="75013" y="79694"/>
                  </a:cubicBezTo>
                  <a:cubicBezTo>
                    <a:pt x="52405" y="60020"/>
                    <a:pt x="28854" y="40854"/>
                    <a:pt x="5013" y="22774"/>
                  </a:cubicBezTo>
                  <a:cubicBezTo>
                    <a:pt x="-567" y="18535"/>
                    <a:pt x="-1653" y="10600"/>
                    <a:pt x="2586" y="5021"/>
                  </a:cubicBezTo>
                  <a:cubicBezTo>
                    <a:pt x="6825" y="-559"/>
                    <a:pt x="14760" y="-1646"/>
                    <a:pt x="20339" y="2557"/>
                  </a:cubicBezTo>
                  <a:cubicBezTo>
                    <a:pt x="44651" y="20963"/>
                    <a:pt x="68636" y="40492"/>
                    <a:pt x="91680" y="60564"/>
                  </a:cubicBezTo>
                  <a:cubicBezTo>
                    <a:pt x="96969" y="65165"/>
                    <a:pt x="97513" y="73173"/>
                    <a:pt x="92911" y="78462"/>
                  </a:cubicBezTo>
                  <a:cubicBezTo>
                    <a:pt x="90412" y="81325"/>
                    <a:pt x="86897" y="82810"/>
                    <a:pt x="83346" y="8281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9" name="Google Shape;309;p7"/>
            <p:cNvSpPr/>
            <p:nvPr/>
          </p:nvSpPr>
          <p:spPr>
            <a:xfrm>
              <a:off x="5348223" y="2689480"/>
              <a:ext cx="103043" cy="72801"/>
            </a:xfrm>
            <a:custGeom>
              <a:avLst/>
              <a:gdLst/>
              <a:ahLst/>
              <a:cxnLst/>
              <a:rect l="l" t="t" r="r" b="b"/>
              <a:pathLst>
                <a:path w="103043" h="72801" extrusionOk="0">
                  <a:moveTo>
                    <a:pt x="12706" y="72802"/>
                  </a:moveTo>
                  <a:cubicBezTo>
                    <a:pt x="8575" y="72802"/>
                    <a:pt x="4554" y="70809"/>
                    <a:pt x="2090" y="67077"/>
                  </a:cubicBezTo>
                  <a:cubicBezTo>
                    <a:pt x="-1751" y="61244"/>
                    <a:pt x="-157" y="53345"/>
                    <a:pt x="5713" y="49505"/>
                  </a:cubicBezTo>
                  <a:cubicBezTo>
                    <a:pt x="31184" y="32730"/>
                    <a:pt x="57561" y="16643"/>
                    <a:pt x="84119" y="1643"/>
                  </a:cubicBezTo>
                  <a:cubicBezTo>
                    <a:pt x="90206" y="-1799"/>
                    <a:pt x="97959" y="338"/>
                    <a:pt x="101401" y="6462"/>
                  </a:cubicBezTo>
                  <a:cubicBezTo>
                    <a:pt x="104843" y="12548"/>
                    <a:pt x="102706" y="20302"/>
                    <a:pt x="96582" y="23744"/>
                  </a:cubicBezTo>
                  <a:cubicBezTo>
                    <a:pt x="70532" y="38454"/>
                    <a:pt x="44662" y="54251"/>
                    <a:pt x="19662" y="70700"/>
                  </a:cubicBezTo>
                  <a:cubicBezTo>
                    <a:pt x="17488" y="72114"/>
                    <a:pt x="15097" y="72802"/>
                    <a:pt x="12706" y="72802"/>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0" name="Google Shape;310;p7"/>
            <p:cNvSpPr/>
            <p:nvPr/>
          </p:nvSpPr>
          <p:spPr>
            <a:xfrm>
              <a:off x="6733004" y="2688382"/>
              <a:ext cx="103225" cy="72704"/>
            </a:xfrm>
            <a:custGeom>
              <a:avLst/>
              <a:gdLst/>
              <a:ahLst/>
              <a:cxnLst/>
              <a:rect l="l" t="t" r="r" b="b"/>
              <a:pathLst>
                <a:path w="103225" h="72704" extrusionOk="0">
                  <a:moveTo>
                    <a:pt x="90531" y="72704"/>
                  </a:moveTo>
                  <a:cubicBezTo>
                    <a:pt x="88139" y="72704"/>
                    <a:pt x="85712" y="72016"/>
                    <a:pt x="83574" y="70639"/>
                  </a:cubicBezTo>
                  <a:cubicBezTo>
                    <a:pt x="58502" y="54190"/>
                    <a:pt x="32560" y="38429"/>
                    <a:pt x="6473" y="23755"/>
                  </a:cubicBezTo>
                  <a:cubicBezTo>
                    <a:pt x="350" y="20313"/>
                    <a:pt x="-1788" y="12596"/>
                    <a:pt x="1618" y="6473"/>
                  </a:cubicBezTo>
                  <a:cubicBezTo>
                    <a:pt x="5060" y="350"/>
                    <a:pt x="12777" y="-1788"/>
                    <a:pt x="18900" y="1618"/>
                  </a:cubicBezTo>
                  <a:cubicBezTo>
                    <a:pt x="45494" y="16581"/>
                    <a:pt x="71944" y="32668"/>
                    <a:pt x="97487" y="49407"/>
                  </a:cubicBezTo>
                  <a:cubicBezTo>
                    <a:pt x="103357" y="53248"/>
                    <a:pt x="104987" y="61110"/>
                    <a:pt x="101146" y="66980"/>
                  </a:cubicBezTo>
                  <a:cubicBezTo>
                    <a:pt x="98719" y="70675"/>
                    <a:pt x="94661" y="72704"/>
                    <a:pt x="90531" y="7270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1" name="Google Shape;311;p7"/>
            <p:cNvSpPr/>
            <p:nvPr/>
          </p:nvSpPr>
          <p:spPr>
            <a:xfrm>
              <a:off x="5506615" y="2611174"/>
              <a:ext cx="108718" cy="61723"/>
            </a:xfrm>
            <a:custGeom>
              <a:avLst/>
              <a:gdLst/>
              <a:ahLst/>
              <a:cxnLst/>
              <a:rect l="l" t="t" r="r" b="b"/>
              <a:pathLst>
                <a:path w="108718" h="61723" extrusionOk="0">
                  <a:moveTo>
                    <a:pt x="12683" y="61724"/>
                  </a:moveTo>
                  <a:cubicBezTo>
                    <a:pt x="7936" y="61724"/>
                    <a:pt x="3407" y="59043"/>
                    <a:pt x="1233" y="54514"/>
                  </a:cubicBezTo>
                  <a:cubicBezTo>
                    <a:pt x="-1774" y="48209"/>
                    <a:pt x="907" y="40637"/>
                    <a:pt x="7212" y="37593"/>
                  </a:cubicBezTo>
                  <a:cubicBezTo>
                    <a:pt x="34712" y="24441"/>
                    <a:pt x="63045" y="12123"/>
                    <a:pt x="91378" y="891"/>
                  </a:cubicBezTo>
                  <a:cubicBezTo>
                    <a:pt x="97900" y="-1682"/>
                    <a:pt x="105255" y="1507"/>
                    <a:pt x="107828" y="8028"/>
                  </a:cubicBezTo>
                  <a:cubicBezTo>
                    <a:pt x="110400" y="14550"/>
                    <a:pt x="107211" y="21905"/>
                    <a:pt x="100690" y="24478"/>
                  </a:cubicBezTo>
                  <a:cubicBezTo>
                    <a:pt x="72900" y="35492"/>
                    <a:pt x="45110" y="47593"/>
                    <a:pt x="18118" y="60456"/>
                  </a:cubicBezTo>
                  <a:cubicBezTo>
                    <a:pt x="16342" y="61325"/>
                    <a:pt x="14494" y="61724"/>
                    <a:pt x="12683" y="6172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2" name="Google Shape;312;p7"/>
            <p:cNvSpPr/>
            <p:nvPr/>
          </p:nvSpPr>
          <p:spPr>
            <a:xfrm>
              <a:off x="6568461" y="2610216"/>
              <a:ext cx="108987" cy="61631"/>
            </a:xfrm>
            <a:custGeom>
              <a:avLst/>
              <a:gdLst/>
              <a:ahLst/>
              <a:cxnLst/>
              <a:rect l="l" t="t" r="r" b="b"/>
              <a:pathLst>
                <a:path w="108987" h="61631" extrusionOk="0">
                  <a:moveTo>
                    <a:pt x="96305" y="61631"/>
                  </a:moveTo>
                  <a:cubicBezTo>
                    <a:pt x="94494" y="61631"/>
                    <a:pt x="92646" y="61233"/>
                    <a:pt x="90871" y="60400"/>
                  </a:cubicBezTo>
                  <a:cubicBezTo>
                    <a:pt x="63769" y="47537"/>
                    <a:pt x="35907" y="35436"/>
                    <a:pt x="8045" y="24494"/>
                  </a:cubicBezTo>
                  <a:cubicBezTo>
                    <a:pt x="1523" y="21921"/>
                    <a:pt x="-1666" y="14566"/>
                    <a:pt x="871" y="8045"/>
                  </a:cubicBezTo>
                  <a:cubicBezTo>
                    <a:pt x="3443" y="1523"/>
                    <a:pt x="10798" y="-1666"/>
                    <a:pt x="17320" y="871"/>
                  </a:cubicBezTo>
                  <a:cubicBezTo>
                    <a:pt x="45726" y="12066"/>
                    <a:pt x="74131" y="24349"/>
                    <a:pt x="101740" y="37465"/>
                  </a:cubicBezTo>
                  <a:cubicBezTo>
                    <a:pt x="108081" y="40472"/>
                    <a:pt x="110762" y="48045"/>
                    <a:pt x="107755" y="54349"/>
                  </a:cubicBezTo>
                  <a:cubicBezTo>
                    <a:pt x="105581" y="58950"/>
                    <a:pt x="101052" y="61631"/>
                    <a:pt x="96305" y="6163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3" name="Google Shape;313;p7"/>
            <p:cNvSpPr/>
            <p:nvPr/>
          </p:nvSpPr>
          <p:spPr>
            <a:xfrm>
              <a:off x="5675720" y="2556010"/>
              <a:ext cx="113038" cy="49968"/>
            </a:xfrm>
            <a:custGeom>
              <a:avLst/>
              <a:gdLst/>
              <a:ahLst/>
              <a:cxnLst/>
              <a:rect l="l" t="t" r="r" b="b"/>
              <a:pathLst>
                <a:path w="113038" h="49968" extrusionOk="0">
                  <a:moveTo>
                    <a:pt x="12672" y="49968"/>
                  </a:moveTo>
                  <a:cubicBezTo>
                    <a:pt x="7309" y="49968"/>
                    <a:pt x="2309" y="46526"/>
                    <a:pt x="606" y="41128"/>
                  </a:cubicBezTo>
                  <a:cubicBezTo>
                    <a:pt x="-1531" y="34461"/>
                    <a:pt x="2164" y="27323"/>
                    <a:pt x="8831" y="25186"/>
                  </a:cubicBezTo>
                  <a:cubicBezTo>
                    <a:pt x="37925" y="15947"/>
                    <a:pt x="67708" y="7577"/>
                    <a:pt x="97345" y="367"/>
                  </a:cubicBezTo>
                  <a:cubicBezTo>
                    <a:pt x="104157" y="-1300"/>
                    <a:pt x="111005" y="2867"/>
                    <a:pt x="112671" y="9679"/>
                  </a:cubicBezTo>
                  <a:cubicBezTo>
                    <a:pt x="114338" y="16490"/>
                    <a:pt x="110171" y="23338"/>
                    <a:pt x="103360" y="25005"/>
                  </a:cubicBezTo>
                  <a:cubicBezTo>
                    <a:pt x="74302" y="32106"/>
                    <a:pt x="45063" y="40294"/>
                    <a:pt x="16548" y="49352"/>
                  </a:cubicBezTo>
                  <a:cubicBezTo>
                    <a:pt x="15244" y="49787"/>
                    <a:pt x="13940" y="49968"/>
                    <a:pt x="12672" y="49968"/>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4" name="Google Shape;314;p7"/>
            <p:cNvSpPr/>
            <p:nvPr/>
          </p:nvSpPr>
          <p:spPr>
            <a:xfrm>
              <a:off x="6394812" y="2555408"/>
              <a:ext cx="113057" cy="49737"/>
            </a:xfrm>
            <a:custGeom>
              <a:avLst/>
              <a:gdLst/>
              <a:ahLst/>
              <a:cxnLst/>
              <a:rect l="l" t="t" r="r" b="b"/>
              <a:pathLst>
                <a:path w="113057" h="49737" extrusionOk="0">
                  <a:moveTo>
                    <a:pt x="100390" y="49737"/>
                  </a:moveTo>
                  <a:cubicBezTo>
                    <a:pt x="99121" y="49737"/>
                    <a:pt x="97853" y="49556"/>
                    <a:pt x="96585" y="49157"/>
                  </a:cubicBezTo>
                  <a:cubicBezTo>
                    <a:pt x="68034" y="40136"/>
                    <a:pt x="38795" y="32020"/>
                    <a:pt x="9701" y="24991"/>
                  </a:cubicBezTo>
                  <a:cubicBezTo>
                    <a:pt x="2890" y="23360"/>
                    <a:pt x="-1277" y="16513"/>
                    <a:pt x="353" y="9701"/>
                  </a:cubicBezTo>
                  <a:cubicBezTo>
                    <a:pt x="1984" y="2889"/>
                    <a:pt x="8832" y="-1277"/>
                    <a:pt x="15643" y="353"/>
                  </a:cubicBezTo>
                  <a:cubicBezTo>
                    <a:pt x="45281" y="7527"/>
                    <a:pt x="75099" y="15824"/>
                    <a:pt x="104194" y="24991"/>
                  </a:cubicBezTo>
                  <a:cubicBezTo>
                    <a:pt x="110860" y="27092"/>
                    <a:pt x="114592" y="34230"/>
                    <a:pt x="112455" y="40897"/>
                  </a:cubicBezTo>
                  <a:cubicBezTo>
                    <a:pt x="110752" y="46259"/>
                    <a:pt x="105788" y="49737"/>
                    <a:pt x="100390" y="4973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5" name="Google Shape;315;p7"/>
            <p:cNvSpPr/>
            <p:nvPr/>
          </p:nvSpPr>
          <p:spPr>
            <a:xfrm>
              <a:off x="5852479" y="2525112"/>
              <a:ext cx="115582" cy="37749"/>
            </a:xfrm>
            <a:custGeom>
              <a:avLst/>
              <a:gdLst/>
              <a:ahLst/>
              <a:cxnLst/>
              <a:rect l="l" t="t" r="r" b="b"/>
              <a:pathLst>
                <a:path w="115582" h="37749" extrusionOk="0">
                  <a:moveTo>
                    <a:pt x="12688" y="37750"/>
                  </a:moveTo>
                  <a:cubicBezTo>
                    <a:pt x="6637" y="37750"/>
                    <a:pt x="1275" y="33402"/>
                    <a:pt x="188" y="27207"/>
                  </a:cubicBezTo>
                  <a:cubicBezTo>
                    <a:pt x="-1008" y="20286"/>
                    <a:pt x="3630" y="13728"/>
                    <a:pt x="10550" y="12569"/>
                  </a:cubicBezTo>
                  <a:cubicBezTo>
                    <a:pt x="40586" y="7388"/>
                    <a:pt x="71202" y="3185"/>
                    <a:pt x="101601" y="69"/>
                  </a:cubicBezTo>
                  <a:cubicBezTo>
                    <a:pt x="108557" y="-656"/>
                    <a:pt x="114789" y="4417"/>
                    <a:pt x="115514" y="11373"/>
                  </a:cubicBezTo>
                  <a:cubicBezTo>
                    <a:pt x="116238" y="18330"/>
                    <a:pt x="111166" y="24562"/>
                    <a:pt x="104209" y="25286"/>
                  </a:cubicBezTo>
                  <a:cubicBezTo>
                    <a:pt x="74391" y="28330"/>
                    <a:pt x="44318" y="32460"/>
                    <a:pt x="14862" y="37533"/>
                  </a:cubicBezTo>
                  <a:cubicBezTo>
                    <a:pt x="14137" y="37714"/>
                    <a:pt x="13412" y="37750"/>
                    <a:pt x="12688" y="3775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6" name="Google Shape;316;p7"/>
            <p:cNvSpPr/>
            <p:nvPr/>
          </p:nvSpPr>
          <p:spPr>
            <a:xfrm>
              <a:off x="6215423" y="2524859"/>
              <a:ext cx="115582" cy="37532"/>
            </a:xfrm>
            <a:custGeom>
              <a:avLst/>
              <a:gdLst/>
              <a:ahLst/>
              <a:cxnLst/>
              <a:rect l="l" t="t" r="r" b="b"/>
              <a:pathLst>
                <a:path w="115582" h="37532" extrusionOk="0">
                  <a:moveTo>
                    <a:pt x="102894" y="37532"/>
                  </a:moveTo>
                  <a:cubicBezTo>
                    <a:pt x="102206" y="37532"/>
                    <a:pt x="101481" y="37460"/>
                    <a:pt x="100757" y="37351"/>
                  </a:cubicBezTo>
                  <a:cubicBezTo>
                    <a:pt x="71300" y="32351"/>
                    <a:pt x="41228" y="28293"/>
                    <a:pt x="11409" y="25286"/>
                  </a:cubicBezTo>
                  <a:cubicBezTo>
                    <a:pt x="4452" y="24597"/>
                    <a:pt x="-656" y="18366"/>
                    <a:pt x="68" y="11409"/>
                  </a:cubicBezTo>
                  <a:cubicBezTo>
                    <a:pt x="793" y="4453"/>
                    <a:pt x="6953" y="-656"/>
                    <a:pt x="13946" y="68"/>
                  </a:cubicBezTo>
                  <a:cubicBezTo>
                    <a:pt x="44344" y="3112"/>
                    <a:pt x="74996" y="7279"/>
                    <a:pt x="105032" y="12387"/>
                  </a:cubicBezTo>
                  <a:cubicBezTo>
                    <a:pt x="111952" y="13547"/>
                    <a:pt x="116590" y="20105"/>
                    <a:pt x="115395" y="27025"/>
                  </a:cubicBezTo>
                  <a:cubicBezTo>
                    <a:pt x="114344" y="33184"/>
                    <a:pt x="108981" y="37532"/>
                    <a:pt x="102894" y="37532"/>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7" name="Google Shape;317;p7"/>
            <p:cNvSpPr/>
            <p:nvPr/>
          </p:nvSpPr>
          <p:spPr>
            <a:xfrm>
              <a:off x="6033491" y="2518071"/>
              <a:ext cx="116429" cy="26575"/>
            </a:xfrm>
            <a:custGeom>
              <a:avLst/>
              <a:gdLst/>
              <a:ahLst/>
              <a:cxnLst/>
              <a:rect l="l" t="t" r="r" b="b"/>
              <a:pathLst>
                <a:path w="116429" h="26575" extrusionOk="0">
                  <a:moveTo>
                    <a:pt x="12690" y="26205"/>
                  </a:moveTo>
                  <a:cubicBezTo>
                    <a:pt x="5878" y="26205"/>
                    <a:pt x="262" y="20806"/>
                    <a:pt x="8" y="13958"/>
                  </a:cubicBezTo>
                  <a:cubicBezTo>
                    <a:pt x="-245" y="6966"/>
                    <a:pt x="5262" y="1096"/>
                    <a:pt x="12255" y="843"/>
                  </a:cubicBezTo>
                  <a:cubicBezTo>
                    <a:pt x="27979" y="299"/>
                    <a:pt x="43849" y="-63"/>
                    <a:pt x="59646" y="9"/>
                  </a:cubicBezTo>
                  <a:cubicBezTo>
                    <a:pt x="74429" y="9"/>
                    <a:pt x="89392" y="263"/>
                    <a:pt x="104175" y="734"/>
                  </a:cubicBezTo>
                  <a:cubicBezTo>
                    <a:pt x="111168" y="951"/>
                    <a:pt x="116675" y="6821"/>
                    <a:pt x="116421" y="13814"/>
                  </a:cubicBezTo>
                  <a:cubicBezTo>
                    <a:pt x="116204" y="20806"/>
                    <a:pt x="110226" y="26784"/>
                    <a:pt x="103342" y="26495"/>
                  </a:cubicBezTo>
                  <a:cubicBezTo>
                    <a:pt x="88849" y="26024"/>
                    <a:pt x="74139" y="26205"/>
                    <a:pt x="59646" y="26205"/>
                  </a:cubicBezTo>
                  <a:cubicBezTo>
                    <a:pt x="59537" y="26205"/>
                    <a:pt x="59465" y="26205"/>
                    <a:pt x="59356" y="26205"/>
                  </a:cubicBezTo>
                  <a:cubicBezTo>
                    <a:pt x="44030" y="26205"/>
                    <a:pt x="28487" y="26024"/>
                    <a:pt x="13124" y="26567"/>
                  </a:cubicBezTo>
                  <a:cubicBezTo>
                    <a:pt x="12979" y="26640"/>
                    <a:pt x="12834" y="26205"/>
                    <a:pt x="12690" y="2620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8" name="Google Shape;318;p7"/>
            <p:cNvSpPr/>
            <p:nvPr/>
          </p:nvSpPr>
          <p:spPr>
            <a:xfrm>
              <a:off x="6080456" y="5184667"/>
              <a:ext cx="70658" cy="26123"/>
            </a:xfrm>
            <a:custGeom>
              <a:avLst/>
              <a:gdLst/>
              <a:ahLst/>
              <a:cxnLst/>
              <a:rect l="l" t="t" r="r" b="b"/>
              <a:pathLst>
                <a:path w="70658" h="26123" extrusionOk="0">
                  <a:moveTo>
                    <a:pt x="12681" y="26123"/>
                  </a:moveTo>
                  <a:cubicBezTo>
                    <a:pt x="5689" y="26123"/>
                    <a:pt x="0" y="20435"/>
                    <a:pt x="0" y="13442"/>
                  </a:cubicBezTo>
                  <a:cubicBezTo>
                    <a:pt x="0" y="6449"/>
                    <a:pt x="5689" y="761"/>
                    <a:pt x="12681" y="761"/>
                  </a:cubicBezTo>
                  <a:cubicBezTo>
                    <a:pt x="27645" y="761"/>
                    <a:pt x="42717" y="507"/>
                    <a:pt x="57536" y="0"/>
                  </a:cubicBezTo>
                  <a:cubicBezTo>
                    <a:pt x="57681" y="0"/>
                    <a:pt x="57826" y="0"/>
                    <a:pt x="57971" y="0"/>
                  </a:cubicBezTo>
                  <a:cubicBezTo>
                    <a:pt x="64782" y="0"/>
                    <a:pt x="70399" y="5399"/>
                    <a:pt x="70652" y="12246"/>
                  </a:cubicBezTo>
                  <a:cubicBezTo>
                    <a:pt x="70870" y="19239"/>
                    <a:pt x="65399" y="25109"/>
                    <a:pt x="58406" y="25362"/>
                  </a:cubicBezTo>
                  <a:cubicBezTo>
                    <a:pt x="43297" y="25870"/>
                    <a:pt x="27899" y="26123"/>
                    <a:pt x="12681" y="2612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319" name="Google Shape;319;p7"/>
          <p:cNvSpPr/>
          <p:nvPr/>
        </p:nvSpPr>
        <p:spPr>
          <a:xfrm>
            <a:off x="5098274" y="2810856"/>
            <a:ext cx="2106337" cy="2106335"/>
          </a:xfrm>
          <a:custGeom>
            <a:avLst/>
            <a:gdLst/>
            <a:ahLst/>
            <a:cxnLst/>
            <a:rect l="l" t="t" r="r" b="b"/>
            <a:pathLst>
              <a:path w="2337386" h="2337385" extrusionOk="0">
                <a:moveTo>
                  <a:pt x="2337386" y="1168693"/>
                </a:moveTo>
                <a:cubicBezTo>
                  <a:pt x="2337386" y="1814144"/>
                  <a:pt x="1814144" y="2337385"/>
                  <a:pt x="1168693" y="2337385"/>
                </a:cubicBezTo>
                <a:cubicBezTo>
                  <a:pt x="523242" y="2337385"/>
                  <a:pt x="0" y="1814144"/>
                  <a:pt x="0" y="1168693"/>
                </a:cubicBezTo>
                <a:cubicBezTo>
                  <a:pt x="0" y="523242"/>
                  <a:pt x="523242" y="0"/>
                  <a:pt x="1168693" y="0"/>
                </a:cubicBezTo>
                <a:cubicBezTo>
                  <a:pt x="1814144" y="0"/>
                  <a:pt x="2337386" y="523242"/>
                  <a:pt x="2337386" y="1168693"/>
                </a:cubicBezTo>
                <a:close/>
              </a:path>
            </a:pathLst>
          </a:custGeom>
          <a:solidFill>
            <a:srgbClr val="FFFFFF"/>
          </a:solidFill>
          <a:ln>
            <a:noFill/>
          </a:ln>
          <a:effectLst>
            <a:outerShdw blurRad="127000" sx="101000" sy="101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dk1"/>
                </a:solidFill>
                <a:latin typeface="Montserrat"/>
                <a:ea typeface="Montserrat"/>
                <a:cs typeface="Montserrat"/>
                <a:sym typeface="Montserrat"/>
              </a:rPr>
              <a:t>OBJECTIVES</a:t>
            </a:r>
            <a:endParaRPr sz="1800" b="0" i="0" u="none" strike="noStrike" cap="none">
              <a:solidFill>
                <a:schemeClr val="dk1"/>
              </a:solidFill>
              <a:latin typeface="Roboto"/>
              <a:ea typeface="Roboto"/>
              <a:cs typeface="Roboto"/>
              <a:sym typeface="Roboto"/>
            </a:endParaRPr>
          </a:p>
        </p:txBody>
      </p:sp>
      <p:sp>
        <p:nvSpPr>
          <p:cNvPr id="320" name="Google Shape;320;p7"/>
          <p:cNvSpPr/>
          <p:nvPr/>
        </p:nvSpPr>
        <p:spPr>
          <a:xfrm>
            <a:off x="5098274" y="2810856"/>
            <a:ext cx="2106370" cy="2106336"/>
          </a:xfrm>
          <a:custGeom>
            <a:avLst/>
            <a:gdLst/>
            <a:ahLst/>
            <a:cxnLst/>
            <a:rect l="l" t="t" r="r" b="b"/>
            <a:pathLst>
              <a:path w="2337422" h="2337385" extrusionOk="0">
                <a:moveTo>
                  <a:pt x="1168693" y="2337385"/>
                </a:moveTo>
                <a:cubicBezTo>
                  <a:pt x="856520" y="2337385"/>
                  <a:pt x="563042" y="2215828"/>
                  <a:pt x="342318" y="1995067"/>
                </a:cubicBezTo>
                <a:cubicBezTo>
                  <a:pt x="121594" y="1774343"/>
                  <a:pt x="0" y="1480866"/>
                  <a:pt x="0" y="1168693"/>
                </a:cubicBezTo>
                <a:cubicBezTo>
                  <a:pt x="0" y="856519"/>
                  <a:pt x="121558" y="563042"/>
                  <a:pt x="342318" y="342282"/>
                </a:cubicBezTo>
                <a:cubicBezTo>
                  <a:pt x="563042" y="121558"/>
                  <a:pt x="856520" y="0"/>
                  <a:pt x="1168693" y="0"/>
                </a:cubicBezTo>
                <a:cubicBezTo>
                  <a:pt x="1480866" y="0"/>
                  <a:pt x="1774344" y="121558"/>
                  <a:pt x="1995104" y="342318"/>
                </a:cubicBezTo>
                <a:cubicBezTo>
                  <a:pt x="2215828" y="563042"/>
                  <a:pt x="2337422" y="856556"/>
                  <a:pt x="2337422" y="1168729"/>
                </a:cubicBezTo>
                <a:cubicBezTo>
                  <a:pt x="2337422" y="1480902"/>
                  <a:pt x="2215865" y="1774379"/>
                  <a:pt x="1995104" y="1995104"/>
                </a:cubicBezTo>
                <a:cubicBezTo>
                  <a:pt x="1774344" y="2215828"/>
                  <a:pt x="1480866" y="2337385"/>
                  <a:pt x="1168693" y="2337385"/>
                </a:cubicBezTo>
                <a:close/>
                <a:moveTo>
                  <a:pt x="1168693" y="162500"/>
                </a:moveTo>
                <a:cubicBezTo>
                  <a:pt x="613875" y="162500"/>
                  <a:pt x="162500" y="613875"/>
                  <a:pt x="162500" y="1168693"/>
                </a:cubicBezTo>
                <a:cubicBezTo>
                  <a:pt x="162500" y="1723510"/>
                  <a:pt x="613875" y="2174886"/>
                  <a:pt x="1168693" y="2174886"/>
                </a:cubicBezTo>
                <a:cubicBezTo>
                  <a:pt x="1723511" y="2174886"/>
                  <a:pt x="2174887" y="1723510"/>
                  <a:pt x="2174887" y="1168693"/>
                </a:cubicBezTo>
                <a:cubicBezTo>
                  <a:pt x="2174887" y="613875"/>
                  <a:pt x="1723511" y="162500"/>
                  <a:pt x="1168693" y="16250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1" name="Google Shape;321;p7"/>
          <p:cNvSpPr/>
          <p:nvPr/>
        </p:nvSpPr>
        <p:spPr>
          <a:xfrm>
            <a:off x="3667177" y="2195169"/>
            <a:ext cx="1348524" cy="1588404"/>
          </a:xfrm>
          <a:custGeom>
            <a:avLst/>
            <a:gdLst/>
            <a:ahLst/>
            <a:cxnLst/>
            <a:rect l="l" t="t" r="r" b="b"/>
            <a:pathLst>
              <a:path w="1496446" h="1762640" extrusionOk="0">
                <a:moveTo>
                  <a:pt x="1247425" y="1163439"/>
                </a:moveTo>
                <a:cubicBezTo>
                  <a:pt x="1312243" y="1023113"/>
                  <a:pt x="1396374" y="893512"/>
                  <a:pt x="1496446" y="778114"/>
                </a:cubicBezTo>
                <a:lnTo>
                  <a:pt x="1395685" y="677390"/>
                </a:lnTo>
                <a:lnTo>
                  <a:pt x="718296" y="0"/>
                </a:lnTo>
                <a:cubicBezTo>
                  <a:pt x="289347" y="466955"/>
                  <a:pt x="20797" y="1083620"/>
                  <a:pt x="0" y="1762640"/>
                </a:cubicBezTo>
                <a:lnTo>
                  <a:pt x="1099744" y="1762640"/>
                </a:lnTo>
                <a:cubicBezTo>
                  <a:pt x="1106664" y="1627786"/>
                  <a:pt x="1130034" y="1497279"/>
                  <a:pt x="1167715" y="1372967"/>
                </a:cubicBezTo>
                <a:lnTo>
                  <a:pt x="1389599" y="1335757"/>
                </a:lnTo>
                <a:lnTo>
                  <a:pt x="1247425" y="1163439"/>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2" name="Google Shape;322;p7"/>
          <p:cNvSpPr/>
          <p:nvPr/>
        </p:nvSpPr>
        <p:spPr>
          <a:xfrm>
            <a:off x="3667112" y="3933765"/>
            <a:ext cx="1350123" cy="1593562"/>
          </a:xfrm>
          <a:custGeom>
            <a:avLst/>
            <a:gdLst/>
            <a:ahLst/>
            <a:cxnLst/>
            <a:rect l="l" t="t" r="r" b="b"/>
            <a:pathLst>
              <a:path w="1498221" h="1768364" extrusionOk="0">
                <a:moveTo>
                  <a:pt x="1254128" y="617027"/>
                </a:moveTo>
                <a:lnTo>
                  <a:pt x="1397895" y="425398"/>
                </a:lnTo>
                <a:lnTo>
                  <a:pt x="1169128" y="397789"/>
                </a:lnTo>
                <a:cubicBezTo>
                  <a:pt x="1130287" y="271050"/>
                  <a:pt x="1106374" y="137790"/>
                  <a:pt x="1099635" y="0"/>
                </a:cubicBezTo>
                <a:lnTo>
                  <a:pt x="0" y="0"/>
                </a:lnTo>
                <a:cubicBezTo>
                  <a:pt x="19927" y="681448"/>
                  <a:pt x="289383" y="1300287"/>
                  <a:pt x="720143" y="1768365"/>
                </a:cubicBezTo>
                <a:lnTo>
                  <a:pt x="1498221" y="990251"/>
                </a:lnTo>
                <a:cubicBezTo>
                  <a:pt x="1400758" y="878222"/>
                  <a:pt x="1318403" y="752752"/>
                  <a:pt x="1254128" y="61702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3" name="Google Shape;323;p7"/>
          <p:cNvSpPr/>
          <p:nvPr/>
        </p:nvSpPr>
        <p:spPr>
          <a:xfrm>
            <a:off x="7296685" y="3933765"/>
            <a:ext cx="1348425" cy="1585302"/>
          </a:xfrm>
          <a:custGeom>
            <a:avLst/>
            <a:gdLst/>
            <a:ahLst/>
            <a:cxnLst/>
            <a:rect l="l" t="t" r="r" b="b"/>
            <a:pathLst>
              <a:path w="1496337" h="1759198" extrusionOk="0">
                <a:moveTo>
                  <a:pt x="396521" y="0"/>
                </a:moveTo>
                <a:cubicBezTo>
                  <a:pt x="389130" y="138116"/>
                  <a:pt x="364565" y="271630"/>
                  <a:pt x="324963" y="398550"/>
                </a:cubicBezTo>
                <a:lnTo>
                  <a:pt x="104022" y="435615"/>
                </a:lnTo>
                <a:lnTo>
                  <a:pt x="244348" y="605687"/>
                </a:lnTo>
                <a:cubicBezTo>
                  <a:pt x="180145" y="742172"/>
                  <a:pt x="97718" y="868367"/>
                  <a:pt x="0" y="981048"/>
                </a:cubicBezTo>
                <a:lnTo>
                  <a:pt x="778151" y="1759198"/>
                </a:lnTo>
                <a:cubicBezTo>
                  <a:pt x="1206374" y="1293004"/>
                  <a:pt x="1474707" y="677680"/>
                  <a:pt x="1496338" y="0"/>
                </a:cubicBezTo>
                <a:lnTo>
                  <a:pt x="396521" y="0"/>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4" name="Google Shape;324;p7"/>
          <p:cNvSpPr/>
          <p:nvPr/>
        </p:nvSpPr>
        <p:spPr>
          <a:xfrm>
            <a:off x="7295151" y="2186941"/>
            <a:ext cx="1350254" cy="1596664"/>
          </a:xfrm>
          <a:custGeom>
            <a:avLst/>
            <a:gdLst/>
            <a:ahLst/>
            <a:cxnLst/>
            <a:rect l="l" t="t" r="r" b="b"/>
            <a:pathLst>
              <a:path w="1498366" h="1771806" extrusionOk="0">
                <a:moveTo>
                  <a:pt x="333043" y="1383547"/>
                </a:moveTo>
                <a:cubicBezTo>
                  <a:pt x="369891" y="1507460"/>
                  <a:pt x="392463" y="1637496"/>
                  <a:pt x="398767" y="1771807"/>
                </a:cubicBezTo>
                <a:lnTo>
                  <a:pt x="1498366" y="1771807"/>
                </a:lnTo>
                <a:cubicBezTo>
                  <a:pt x="1479236" y="1089019"/>
                  <a:pt x="1209599" y="468876"/>
                  <a:pt x="778114" y="0"/>
                </a:cubicBezTo>
                <a:lnTo>
                  <a:pt x="94565" y="683513"/>
                </a:lnTo>
                <a:lnTo>
                  <a:pt x="0" y="778114"/>
                </a:lnTo>
                <a:cubicBezTo>
                  <a:pt x="98695" y="891556"/>
                  <a:pt x="181884" y="1018802"/>
                  <a:pt x="246521" y="1156483"/>
                </a:cubicBezTo>
                <a:lnTo>
                  <a:pt x="97500" y="1355141"/>
                </a:lnTo>
                <a:lnTo>
                  <a:pt x="333043" y="1383547"/>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5" name="Google Shape;325;p7"/>
          <p:cNvSpPr txBox="1"/>
          <p:nvPr/>
        </p:nvSpPr>
        <p:spPr>
          <a:xfrm>
            <a:off x="9518499" y="2324829"/>
            <a:ext cx="2335854"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aintain the Arrangements, and expand coverage into new economies</a:t>
            </a:r>
            <a:endParaRPr sz="1400" b="0" i="0" u="none" strike="noStrike" cap="none">
              <a:solidFill>
                <a:srgbClr val="000000"/>
              </a:solidFill>
              <a:latin typeface="Arial"/>
              <a:ea typeface="Arial"/>
              <a:cs typeface="Arial"/>
              <a:sym typeface="Arial"/>
            </a:endParaRPr>
          </a:p>
        </p:txBody>
      </p:sp>
      <p:sp>
        <p:nvSpPr>
          <p:cNvPr id="326" name="Google Shape;326;p7"/>
          <p:cNvSpPr txBox="1"/>
          <p:nvPr/>
        </p:nvSpPr>
        <p:spPr>
          <a:xfrm>
            <a:off x="9564869" y="4798304"/>
            <a:ext cx="2335854"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crease cooperation with all relevant stakeholders</a:t>
            </a:r>
            <a:endParaRPr sz="1400" b="0" i="0" u="none" strike="noStrike" cap="none">
              <a:solidFill>
                <a:srgbClr val="000000"/>
              </a:solidFill>
              <a:latin typeface="Arial"/>
              <a:ea typeface="Arial"/>
              <a:cs typeface="Arial"/>
              <a:sym typeface="Arial"/>
            </a:endParaRPr>
          </a:p>
        </p:txBody>
      </p:sp>
      <p:sp>
        <p:nvSpPr>
          <p:cNvPr id="327" name="Google Shape;327;p7"/>
          <p:cNvSpPr txBox="1"/>
          <p:nvPr/>
        </p:nvSpPr>
        <p:spPr>
          <a:xfrm>
            <a:off x="138502" y="2239762"/>
            <a:ext cx="2609477" cy="830997"/>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vide assistance to developing countries by providing appropriate support to new accreditation activities</a:t>
            </a:r>
            <a:endParaRPr sz="1400" b="0" i="0" u="none" strike="noStrike" cap="none">
              <a:solidFill>
                <a:srgbClr val="000000"/>
              </a:solidFill>
              <a:latin typeface="Arial"/>
              <a:ea typeface="Arial"/>
              <a:cs typeface="Arial"/>
              <a:sym typeface="Arial"/>
            </a:endParaRPr>
          </a:p>
        </p:txBody>
      </p:sp>
      <p:sp>
        <p:nvSpPr>
          <p:cNvPr id="328" name="Google Shape;328;p7"/>
          <p:cNvSpPr txBox="1"/>
          <p:nvPr/>
        </p:nvSpPr>
        <p:spPr>
          <a:xfrm>
            <a:off x="434998" y="4713259"/>
            <a:ext cx="2335854" cy="646331"/>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t as a central ‘hub’ to harmonise conformity assessment best practice</a:t>
            </a:r>
            <a:endParaRPr sz="1400" b="0" i="0" u="none" strike="noStrike" cap="none">
              <a:solidFill>
                <a:srgbClr val="000000"/>
              </a:solidFill>
              <a:latin typeface="Arial"/>
              <a:ea typeface="Arial"/>
              <a:cs typeface="Arial"/>
              <a:sym typeface="Arial"/>
            </a:endParaRPr>
          </a:p>
        </p:txBody>
      </p:sp>
      <p:pic>
        <p:nvPicPr>
          <p:cNvPr id="329" name="Google Shape;329;p7"/>
          <p:cNvPicPr preferRelativeResize="0"/>
          <p:nvPr/>
        </p:nvPicPr>
        <p:blipFill rotWithShape="1">
          <a:blip r:embed="rId3">
            <a:alphaModFix/>
          </a:blip>
          <a:srcRect/>
          <a:stretch/>
        </p:blipFill>
        <p:spPr>
          <a:xfrm>
            <a:off x="7763397" y="2867571"/>
            <a:ext cx="450056" cy="457200"/>
          </a:xfrm>
          <a:prstGeom prst="rect">
            <a:avLst/>
          </a:prstGeom>
          <a:noFill/>
          <a:ln>
            <a:noFill/>
          </a:ln>
        </p:spPr>
      </p:pic>
      <p:pic>
        <p:nvPicPr>
          <p:cNvPr id="330" name="Google Shape;330;p7"/>
          <p:cNvPicPr preferRelativeResize="0"/>
          <p:nvPr/>
        </p:nvPicPr>
        <p:blipFill rotWithShape="1">
          <a:blip r:embed="rId4">
            <a:alphaModFix/>
          </a:blip>
          <a:srcRect/>
          <a:stretch/>
        </p:blipFill>
        <p:spPr>
          <a:xfrm>
            <a:off x="7792445" y="4329910"/>
            <a:ext cx="457200" cy="457200"/>
          </a:xfrm>
          <a:prstGeom prst="rect">
            <a:avLst/>
          </a:prstGeom>
          <a:noFill/>
          <a:ln>
            <a:noFill/>
          </a:ln>
        </p:spPr>
      </p:pic>
      <p:pic>
        <p:nvPicPr>
          <p:cNvPr id="331" name="Google Shape;331;p7"/>
          <p:cNvPicPr preferRelativeResize="0"/>
          <p:nvPr/>
        </p:nvPicPr>
        <p:blipFill rotWithShape="1">
          <a:blip r:embed="rId5">
            <a:alphaModFix/>
          </a:blip>
          <a:srcRect/>
          <a:stretch/>
        </p:blipFill>
        <p:spPr>
          <a:xfrm>
            <a:off x="4075173" y="2875861"/>
            <a:ext cx="436418" cy="457200"/>
          </a:xfrm>
          <a:prstGeom prst="rect">
            <a:avLst/>
          </a:prstGeom>
          <a:noFill/>
          <a:ln>
            <a:noFill/>
          </a:ln>
        </p:spPr>
      </p:pic>
      <p:pic>
        <p:nvPicPr>
          <p:cNvPr id="332" name="Google Shape;332;p7"/>
          <p:cNvPicPr preferRelativeResize="0"/>
          <p:nvPr/>
        </p:nvPicPr>
        <p:blipFill rotWithShape="1">
          <a:blip r:embed="rId6">
            <a:alphaModFix/>
          </a:blip>
          <a:srcRect/>
          <a:stretch/>
        </p:blipFill>
        <p:spPr>
          <a:xfrm>
            <a:off x="4057855" y="4363016"/>
            <a:ext cx="471054" cy="471054"/>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37"/>
        <p:cNvGrpSpPr/>
        <p:nvPr/>
      </p:nvGrpSpPr>
      <p:grpSpPr>
        <a:xfrm>
          <a:off x="0" y="0"/>
          <a:ext cx="0" cy="0"/>
          <a:chOff x="0" y="0"/>
          <a:chExt cx="0" cy="0"/>
        </a:xfrm>
      </p:grpSpPr>
      <p:sp>
        <p:nvSpPr>
          <p:cNvPr id="338" name="Google Shape;338;p8"/>
          <p:cNvSpPr/>
          <p:nvPr/>
        </p:nvSpPr>
        <p:spPr>
          <a:xfrm>
            <a:off x="5930900" y="0"/>
            <a:ext cx="6261100" cy="6261102"/>
          </a:xfrm>
          <a:custGeom>
            <a:avLst/>
            <a:gdLst/>
            <a:ahLst/>
            <a:cxnLst/>
            <a:rect l="l" t="t" r="r" b="b"/>
            <a:pathLst>
              <a:path w="6135328" h="6135330" extrusionOk="0">
                <a:moveTo>
                  <a:pt x="0" y="0"/>
                </a:moveTo>
                <a:lnTo>
                  <a:pt x="6135328" y="0"/>
                </a:lnTo>
                <a:lnTo>
                  <a:pt x="6135328" y="6135330"/>
                </a:lnTo>
                <a:lnTo>
                  <a:pt x="5819606" y="6127347"/>
                </a:lnTo>
                <a:cubicBezTo>
                  <a:pt x="2577883" y="5963024"/>
                  <a:pt x="0" y="3282560"/>
                  <a:pt x="0"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339" name="Google Shape;339;p8"/>
          <p:cNvSpPr txBox="1"/>
          <p:nvPr/>
        </p:nvSpPr>
        <p:spPr>
          <a:xfrm>
            <a:off x="357948" y="596898"/>
            <a:ext cx="7648910"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ABOUT IAF</a:t>
            </a:r>
            <a:endParaRPr sz="3200" b="1" i="0" u="none" strike="noStrike" cap="none">
              <a:solidFill>
                <a:schemeClr val="accent1"/>
              </a:solidFill>
              <a:latin typeface="Montserrat"/>
              <a:ea typeface="Montserrat"/>
              <a:cs typeface="Montserrat"/>
              <a:sym typeface="Montserrat"/>
            </a:endParaRPr>
          </a:p>
        </p:txBody>
      </p:sp>
      <p:cxnSp>
        <p:nvCxnSpPr>
          <p:cNvPr id="340" name="Google Shape;340;p8"/>
          <p:cNvCxnSpPr/>
          <p:nvPr/>
        </p:nvCxnSpPr>
        <p:spPr>
          <a:xfrm>
            <a:off x="468961" y="125348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341" name="Google Shape;341;p8"/>
          <p:cNvSpPr txBox="1"/>
          <p:nvPr/>
        </p:nvSpPr>
        <p:spPr>
          <a:xfrm>
            <a:off x="357948" y="1705451"/>
            <a:ext cx="5718904" cy="3970318"/>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AF is a global association of accreditation bodies and other bodies interested in conformity assessment in the fields of management systems, products, processes, services, persons, validation and verification and other similar programmes of conformity assessment.</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ts main purpose is to operate and maintain a global Multilateral Recognition Arrangement (the IAF MLA) that enables the mutual recognition of certificates and validation/verification statements issued by conformity assessment bodies accredited by signatories to the IAF MLA, in order to provide recognised conformity assessment activities and global acceptance of conformity assessment certificates and statements. </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AF also provides training, develops documentation (where required) to promote common accreditation practices, and a forum for sharing best practice. </a:t>
            </a:r>
            <a:endParaRPr sz="1400" b="0" i="0" u="none" strike="noStrike" cap="none">
              <a:solidFill>
                <a:srgbClr val="000000"/>
              </a:solidFill>
              <a:latin typeface="Arial"/>
              <a:ea typeface="Arial"/>
              <a:cs typeface="Arial"/>
              <a:sym typeface="Arial"/>
            </a:endParaRPr>
          </a:p>
        </p:txBody>
      </p:sp>
      <p:pic>
        <p:nvPicPr>
          <p:cNvPr id="342" name="Google Shape;342;p8" descr="A hand holding a seedling&#10;&#10;Description automatically generated with medium confidence"/>
          <p:cNvPicPr preferRelativeResize="0">
            <a:picLocks noGrp="1"/>
          </p:cNvPicPr>
          <p:nvPr>
            <p:ph type="pic" idx="2"/>
          </p:nvPr>
        </p:nvPicPr>
        <p:blipFill rotWithShape="1">
          <a:blip r:embed="rId3">
            <a:alphaModFix/>
          </a:blip>
          <a:srcRect l="9329" r="24004"/>
          <a:stretch/>
        </p:blipFill>
        <p:spPr>
          <a:xfrm>
            <a:off x="6056672" y="0"/>
            <a:ext cx="6135328" cy="6135330"/>
          </a:xfrm>
          <a:prstGeom prst="rect">
            <a:avLst/>
          </a:prstGeom>
          <a:solidFill>
            <a:srgbClr val="F2F2F2">
              <a:alpha val="34509"/>
            </a:srgbClr>
          </a:solid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46"/>
        <p:cNvGrpSpPr/>
        <p:nvPr/>
      </p:nvGrpSpPr>
      <p:grpSpPr>
        <a:xfrm>
          <a:off x="0" y="0"/>
          <a:ext cx="0" cy="0"/>
          <a:chOff x="0" y="0"/>
          <a:chExt cx="0" cy="0"/>
        </a:xfrm>
      </p:grpSpPr>
      <p:sp>
        <p:nvSpPr>
          <p:cNvPr id="347" name="Google Shape;347;p9"/>
          <p:cNvSpPr txBox="1"/>
          <p:nvPr/>
        </p:nvSpPr>
        <p:spPr>
          <a:xfrm>
            <a:off x="4257675" y="356767"/>
            <a:ext cx="367665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STRUCTURE</a:t>
            </a:r>
            <a:endParaRPr sz="1400" b="0" i="0" u="none" strike="noStrike" cap="none">
              <a:solidFill>
                <a:srgbClr val="000000"/>
              </a:solidFill>
              <a:latin typeface="Arial"/>
              <a:ea typeface="Arial"/>
              <a:cs typeface="Arial"/>
              <a:sym typeface="Arial"/>
            </a:endParaRPr>
          </a:p>
        </p:txBody>
      </p:sp>
      <p:cxnSp>
        <p:nvCxnSpPr>
          <p:cNvPr id="348" name="Google Shape;348;p9"/>
          <p:cNvCxnSpPr/>
          <p:nvPr/>
        </p:nvCxnSpPr>
        <p:spPr>
          <a:xfrm>
            <a:off x="5529618" y="97115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349" name="Google Shape;349;p9"/>
          <p:cNvSpPr/>
          <p:nvPr/>
        </p:nvSpPr>
        <p:spPr>
          <a:xfrm>
            <a:off x="4895850" y="11951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0" name="Google Shape;350;p9"/>
          <p:cNvSpPr txBox="1"/>
          <p:nvPr/>
        </p:nvSpPr>
        <p:spPr>
          <a:xfrm>
            <a:off x="5326784" y="1382818"/>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IAF Members</a:t>
            </a:r>
            <a:endParaRPr sz="1400" b="0" i="0" u="none" strike="noStrike" cap="none">
              <a:solidFill>
                <a:srgbClr val="000000"/>
              </a:solidFill>
              <a:latin typeface="Arial"/>
              <a:ea typeface="Arial"/>
              <a:cs typeface="Arial"/>
              <a:sym typeface="Arial"/>
            </a:endParaRPr>
          </a:p>
        </p:txBody>
      </p:sp>
      <p:sp>
        <p:nvSpPr>
          <p:cNvPr id="351" name="Google Shape;351;p9"/>
          <p:cNvSpPr/>
          <p:nvPr/>
        </p:nvSpPr>
        <p:spPr>
          <a:xfrm>
            <a:off x="1743941" y="194486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2" name="Google Shape;352;p9"/>
          <p:cNvSpPr txBox="1"/>
          <p:nvPr/>
        </p:nvSpPr>
        <p:spPr>
          <a:xfrm>
            <a:off x="1877291" y="2055593"/>
            <a:ext cx="2133600"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Financial Oversight Committee (FOC)</a:t>
            </a:r>
            <a:endParaRPr sz="1400" b="0" i="0" u="none" strike="noStrike" cap="none">
              <a:solidFill>
                <a:srgbClr val="000000"/>
              </a:solidFill>
              <a:latin typeface="Arial"/>
              <a:ea typeface="Arial"/>
              <a:cs typeface="Arial"/>
              <a:sym typeface="Arial"/>
            </a:endParaRPr>
          </a:p>
        </p:txBody>
      </p:sp>
      <p:sp>
        <p:nvSpPr>
          <p:cNvPr id="353" name="Google Shape;353;p9"/>
          <p:cNvSpPr/>
          <p:nvPr/>
        </p:nvSpPr>
        <p:spPr>
          <a:xfrm>
            <a:off x="8047759" y="3651255"/>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4" name="Google Shape;354;p9"/>
          <p:cNvSpPr/>
          <p:nvPr/>
        </p:nvSpPr>
        <p:spPr>
          <a:xfrm>
            <a:off x="1743941" y="269458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5" name="Google Shape;355;p9"/>
          <p:cNvSpPr/>
          <p:nvPr/>
        </p:nvSpPr>
        <p:spPr>
          <a:xfrm>
            <a:off x="8047759" y="269458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6" name="Google Shape;356;p9"/>
          <p:cNvSpPr txBox="1"/>
          <p:nvPr/>
        </p:nvSpPr>
        <p:spPr>
          <a:xfrm>
            <a:off x="8478693" y="2882258"/>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Secretary</a:t>
            </a:r>
            <a:endParaRPr sz="1400" b="0" i="0" u="none" strike="noStrike" cap="none">
              <a:solidFill>
                <a:srgbClr val="000000"/>
              </a:solidFill>
              <a:latin typeface="Arial"/>
              <a:ea typeface="Arial"/>
              <a:cs typeface="Arial"/>
              <a:sym typeface="Arial"/>
            </a:endParaRPr>
          </a:p>
        </p:txBody>
      </p:sp>
      <p:sp>
        <p:nvSpPr>
          <p:cNvPr id="357" name="Google Shape;357;p9"/>
          <p:cNvSpPr/>
          <p:nvPr/>
        </p:nvSpPr>
        <p:spPr>
          <a:xfrm>
            <a:off x="4895850" y="269458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8" name="Google Shape;358;p9"/>
          <p:cNvSpPr/>
          <p:nvPr/>
        </p:nvSpPr>
        <p:spPr>
          <a:xfrm>
            <a:off x="4895850" y="3651255"/>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9" name="Google Shape;359;p9"/>
          <p:cNvSpPr txBox="1"/>
          <p:nvPr/>
        </p:nvSpPr>
        <p:spPr>
          <a:xfrm>
            <a:off x="5233987" y="2882258"/>
            <a:ext cx="1828800"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Board of Directors (BOD)</a:t>
            </a:r>
            <a:endParaRPr sz="1400" b="0" i="0" u="none" strike="noStrike" cap="none">
              <a:solidFill>
                <a:srgbClr val="000000"/>
              </a:solidFill>
              <a:latin typeface="Arial"/>
              <a:ea typeface="Arial"/>
              <a:cs typeface="Arial"/>
              <a:sym typeface="Arial"/>
            </a:endParaRPr>
          </a:p>
        </p:txBody>
      </p:sp>
      <p:sp>
        <p:nvSpPr>
          <p:cNvPr id="360" name="Google Shape;360;p9"/>
          <p:cNvSpPr txBox="1"/>
          <p:nvPr/>
        </p:nvSpPr>
        <p:spPr>
          <a:xfrm>
            <a:off x="2174875" y="2882258"/>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Treasurer</a:t>
            </a:r>
            <a:endParaRPr sz="1400" b="0" i="0" u="none" strike="noStrike" cap="none">
              <a:solidFill>
                <a:srgbClr val="000000"/>
              </a:solidFill>
              <a:latin typeface="Arial"/>
              <a:ea typeface="Arial"/>
              <a:cs typeface="Arial"/>
              <a:sym typeface="Arial"/>
            </a:endParaRPr>
          </a:p>
        </p:txBody>
      </p:sp>
      <p:sp>
        <p:nvSpPr>
          <p:cNvPr id="361" name="Google Shape;361;p9"/>
          <p:cNvSpPr/>
          <p:nvPr/>
        </p:nvSpPr>
        <p:spPr>
          <a:xfrm>
            <a:off x="1743941" y="3651255"/>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2" name="Google Shape;362;p9"/>
          <p:cNvSpPr txBox="1"/>
          <p:nvPr/>
        </p:nvSpPr>
        <p:spPr>
          <a:xfrm>
            <a:off x="8107506" y="3704445"/>
            <a:ext cx="2280806" cy="55399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Database Management Committee (DMC) of IAF Database, LLC</a:t>
            </a:r>
            <a:endParaRPr sz="1400" b="0" i="0" u="none" strike="noStrike" cap="none">
              <a:solidFill>
                <a:srgbClr val="000000"/>
              </a:solidFill>
              <a:latin typeface="Arial"/>
              <a:ea typeface="Arial"/>
              <a:cs typeface="Arial"/>
              <a:sym typeface="Arial"/>
            </a:endParaRPr>
          </a:p>
        </p:txBody>
      </p:sp>
      <p:sp>
        <p:nvSpPr>
          <p:cNvPr id="363" name="Google Shape;363;p9"/>
          <p:cNvSpPr txBox="1"/>
          <p:nvPr/>
        </p:nvSpPr>
        <p:spPr>
          <a:xfrm>
            <a:off x="5230523" y="3761987"/>
            <a:ext cx="1730954"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Executive Committee (EC) includes Directors</a:t>
            </a:r>
            <a:endParaRPr sz="1400" b="0" i="0" u="none" strike="noStrike" cap="none">
              <a:solidFill>
                <a:srgbClr val="000000"/>
              </a:solidFill>
              <a:latin typeface="Arial"/>
              <a:ea typeface="Arial"/>
              <a:cs typeface="Arial"/>
              <a:sym typeface="Arial"/>
            </a:endParaRPr>
          </a:p>
        </p:txBody>
      </p:sp>
      <p:sp>
        <p:nvSpPr>
          <p:cNvPr id="364" name="Google Shape;364;p9"/>
          <p:cNvSpPr txBox="1"/>
          <p:nvPr/>
        </p:nvSpPr>
        <p:spPr>
          <a:xfrm>
            <a:off x="2174875" y="3838932"/>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Quality Manager</a:t>
            </a:r>
            <a:endParaRPr sz="1400" b="0" i="0" u="none" strike="noStrike" cap="none">
              <a:solidFill>
                <a:srgbClr val="000000"/>
              </a:solidFill>
              <a:latin typeface="Arial"/>
              <a:ea typeface="Arial"/>
              <a:cs typeface="Arial"/>
              <a:sym typeface="Arial"/>
            </a:endParaRPr>
          </a:p>
        </p:txBody>
      </p:sp>
      <p:sp>
        <p:nvSpPr>
          <p:cNvPr id="365" name="Google Shape;365;p9"/>
          <p:cNvSpPr/>
          <p:nvPr/>
        </p:nvSpPr>
        <p:spPr>
          <a:xfrm>
            <a:off x="1743941" y="5564602"/>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6" name="Google Shape;366;p9"/>
          <p:cNvSpPr/>
          <p:nvPr/>
        </p:nvSpPr>
        <p:spPr>
          <a:xfrm>
            <a:off x="4895850" y="5564602"/>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7" name="Google Shape;367;p9"/>
          <p:cNvSpPr/>
          <p:nvPr/>
        </p:nvSpPr>
        <p:spPr>
          <a:xfrm>
            <a:off x="8047759" y="5564602"/>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8" name="Google Shape;368;p9"/>
          <p:cNvSpPr txBox="1"/>
          <p:nvPr/>
        </p:nvSpPr>
        <p:spPr>
          <a:xfrm>
            <a:off x="1877291" y="5675334"/>
            <a:ext cx="2133600"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Conformity Assessment Body Advisory Committee (CABAC)</a:t>
            </a:r>
            <a:endParaRPr sz="1400" b="0" i="0" u="none" strike="noStrike" cap="none">
              <a:solidFill>
                <a:srgbClr val="000000"/>
              </a:solidFill>
              <a:latin typeface="Arial"/>
              <a:ea typeface="Arial"/>
              <a:cs typeface="Arial"/>
              <a:sym typeface="Arial"/>
            </a:endParaRPr>
          </a:p>
        </p:txBody>
      </p:sp>
      <p:sp>
        <p:nvSpPr>
          <p:cNvPr id="369" name="Google Shape;369;p9"/>
          <p:cNvSpPr txBox="1"/>
          <p:nvPr/>
        </p:nvSpPr>
        <p:spPr>
          <a:xfrm>
            <a:off x="5015346" y="5675334"/>
            <a:ext cx="2161308"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ccreditation Body Information Exchange Group (ABIEG)</a:t>
            </a:r>
            <a:endParaRPr sz="1400" b="0" i="0" u="none" strike="noStrike" cap="none">
              <a:solidFill>
                <a:srgbClr val="000000"/>
              </a:solidFill>
              <a:latin typeface="Arial"/>
              <a:ea typeface="Arial"/>
              <a:cs typeface="Arial"/>
              <a:sym typeface="Arial"/>
            </a:endParaRPr>
          </a:p>
        </p:txBody>
      </p:sp>
      <p:sp>
        <p:nvSpPr>
          <p:cNvPr id="370" name="Google Shape;370;p9"/>
          <p:cNvSpPr txBox="1"/>
          <p:nvPr/>
        </p:nvSpPr>
        <p:spPr>
          <a:xfrm>
            <a:off x="8275493" y="5675334"/>
            <a:ext cx="19448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User Advisory Committee (UAC)</a:t>
            </a:r>
            <a:endParaRPr sz="1400" b="0" i="0" u="none" strike="noStrike" cap="none">
              <a:solidFill>
                <a:srgbClr val="000000"/>
              </a:solidFill>
              <a:latin typeface="Arial"/>
              <a:ea typeface="Arial"/>
              <a:cs typeface="Arial"/>
              <a:sym typeface="Arial"/>
            </a:endParaRPr>
          </a:p>
        </p:txBody>
      </p:sp>
      <p:sp>
        <p:nvSpPr>
          <p:cNvPr id="371" name="Google Shape;371;p9"/>
          <p:cNvSpPr/>
          <p:nvPr/>
        </p:nvSpPr>
        <p:spPr>
          <a:xfrm>
            <a:off x="603539"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2" name="Google Shape;372;p9"/>
          <p:cNvSpPr/>
          <p:nvPr/>
        </p:nvSpPr>
        <p:spPr>
          <a:xfrm>
            <a:off x="3465080"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3" name="Google Shape;373;p9"/>
          <p:cNvSpPr/>
          <p:nvPr/>
        </p:nvSpPr>
        <p:spPr>
          <a:xfrm>
            <a:off x="9188162"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4" name="Google Shape;374;p9"/>
          <p:cNvSpPr/>
          <p:nvPr/>
        </p:nvSpPr>
        <p:spPr>
          <a:xfrm>
            <a:off x="6326621"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5" name="Google Shape;375;p9"/>
          <p:cNvSpPr txBox="1"/>
          <p:nvPr/>
        </p:nvSpPr>
        <p:spPr>
          <a:xfrm>
            <a:off x="728238" y="4834773"/>
            <a:ext cx="215090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Communications &amp; Marketing Committee (CMC)</a:t>
            </a:r>
            <a:endParaRPr sz="1400" b="0" i="0" u="none" strike="noStrike" cap="none">
              <a:solidFill>
                <a:srgbClr val="000000"/>
              </a:solidFill>
              <a:latin typeface="Arial"/>
              <a:ea typeface="Arial"/>
              <a:cs typeface="Arial"/>
              <a:sym typeface="Arial"/>
            </a:endParaRPr>
          </a:p>
        </p:txBody>
      </p:sp>
      <p:sp>
        <p:nvSpPr>
          <p:cNvPr id="376" name="Google Shape;376;p9"/>
          <p:cNvSpPr txBox="1"/>
          <p:nvPr/>
        </p:nvSpPr>
        <p:spPr>
          <a:xfrm>
            <a:off x="3820391" y="4834773"/>
            <a:ext cx="1689678"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Development Support Committee (DSC)</a:t>
            </a:r>
            <a:endParaRPr sz="1400" b="0" i="0" u="none" strike="noStrike" cap="none">
              <a:solidFill>
                <a:srgbClr val="000000"/>
              </a:solidFill>
              <a:latin typeface="Arial"/>
              <a:ea typeface="Arial"/>
              <a:cs typeface="Arial"/>
              <a:sym typeface="Arial"/>
            </a:endParaRPr>
          </a:p>
        </p:txBody>
      </p:sp>
      <p:sp>
        <p:nvSpPr>
          <p:cNvPr id="377" name="Google Shape;377;p9"/>
          <p:cNvSpPr txBox="1"/>
          <p:nvPr/>
        </p:nvSpPr>
        <p:spPr>
          <a:xfrm>
            <a:off x="6580622" y="4911718"/>
            <a:ext cx="1892298"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MLA Committee (MLAC)</a:t>
            </a:r>
            <a:endParaRPr sz="1400" b="0" i="0" u="none" strike="noStrike" cap="none">
              <a:solidFill>
                <a:srgbClr val="000000"/>
              </a:solidFill>
              <a:latin typeface="Arial"/>
              <a:ea typeface="Arial"/>
              <a:cs typeface="Arial"/>
              <a:sym typeface="Arial"/>
            </a:endParaRPr>
          </a:p>
        </p:txBody>
      </p:sp>
      <p:sp>
        <p:nvSpPr>
          <p:cNvPr id="378" name="Google Shape;378;p9"/>
          <p:cNvSpPr txBox="1"/>
          <p:nvPr/>
        </p:nvSpPr>
        <p:spPr>
          <a:xfrm>
            <a:off x="9312864" y="4911718"/>
            <a:ext cx="2150896"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Technical Committee (TC)</a:t>
            </a:r>
            <a:endParaRPr sz="1400" b="0" i="0" u="none" strike="noStrike" cap="none">
              <a:solidFill>
                <a:srgbClr val="000000"/>
              </a:solidFill>
              <a:latin typeface="Arial"/>
              <a:ea typeface="Arial"/>
              <a:cs typeface="Arial"/>
              <a:sym typeface="Arial"/>
            </a:endParaRPr>
          </a:p>
        </p:txBody>
      </p:sp>
      <p:cxnSp>
        <p:nvCxnSpPr>
          <p:cNvPr id="379" name="Google Shape;379;p9"/>
          <p:cNvCxnSpPr>
            <a:stCxn id="349" idx="2"/>
            <a:endCxn id="357" idx="0"/>
          </p:cNvCxnSpPr>
          <p:nvPr/>
        </p:nvCxnSpPr>
        <p:spPr>
          <a:xfrm>
            <a:off x="6096000" y="1816715"/>
            <a:ext cx="0" cy="877800"/>
          </a:xfrm>
          <a:prstGeom prst="straightConnector1">
            <a:avLst/>
          </a:prstGeom>
          <a:noFill/>
          <a:ln w="9525" cap="flat" cmpd="sng">
            <a:solidFill>
              <a:schemeClr val="accent2"/>
            </a:solidFill>
            <a:prstDash val="solid"/>
            <a:miter lim="800000"/>
            <a:headEnd type="none" w="sm" len="sm"/>
            <a:tailEnd type="none" w="sm" len="sm"/>
          </a:ln>
        </p:spPr>
      </p:cxnSp>
      <p:cxnSp>
        <p:nvCxnSpPr>
          <p:cNvPr id="380" name="Google Shape;380;p9"/>
          <p:cNvCxnSpPr>
            <a:stCxn id="351" idx="3"/>
          </p:cNvCxnSpPr>
          <p:nvPr/>
        </p:nvCxnSpPr>
        <p:spPr>
          <a:xfrm>
            <a:off x="4144241" y="2255648"/>
            <a:ext cx="1951800" cy="0"/>
          </a:xfrm>
          <a:prstGeom prst="straightConnector1">
            <a:avLst/>
          </a:prstGeom>
          <a:noFill/>
          <a:ln w="9525" cap="flat" cmpd="sng">
            <a:solidFill>
              <a:schemeClr val="accent1"/>
            </a:solidFill>
            <a:prstDash val="solid"/>
            <a:miter lim="800000"/>
            <a:headEnd type="none" w="sm" len="sm"/>
            <a:tailEnd type="none" w="sm" len="sm"/>
          </a:ln>
        </p:spPr>
      </p:cxnSp>
      <p:cxnSp>
        <p:nvCxnSpPr>
          <p:cNvPr id="381" name="Google Shape;381;p9"/>
          <p:cNvCxnSpPr>
            <a:stCxn id="354" idx="3"/>
            <a:endCxn id="357" idx="1"/>
          </p:cNvCxnSpPr>
          <p:nvPr/>
        </p:nvCxnSpPr>
        <p:spPr>
          <a:xfrm>
            <a:off x="4144241" y="3005368"/>
            <a:ext cx="751500" cy="0"/>
          </a:xfrm>
          <a:prstGeom prst="straightConnector1">
            <a:avLst/>
          </a:prstGeom>
          <a:noFill/>
          <a:ln w="9525" cap="flat" cmpd="sng">
            <a:solidFill>
              <a:schemeClr val="accent1"/>
            </a:solidFill>
            <a:prstDash val="solid"/>
            <a:miter lim="800000"/>
            <a:headEnd type="none" w="sm" len="sm"/>
            <a:tailEnd type="none" w="sm" len="sm"/>
          </a:ln>
        </p:spPr>
      </p:cxnSp>
      <p:cxnSp>
        <p:nvCxnSpPr>
          <p:cNvPr id="382" name="Google Shape;382;p9"/>
          <p:cNvCxnSpPr/>
          <p:nvPr/>
        </p:nvCxnSpPr>
        <p:spPr>
          <a:xfrm>
            <a:off x="7296150" y="3005368"/>
            <a:ext cx="751609" cy="0"/>
          </a:xfrm>
          <a:prstGeom prst="straightConnector1">
            <a:avLst/>
          </a:prstGeom>
          <a:noFill/>
          <a:ln w="9525" cap="flat" cmpd="sng">
            <a:solidFill>
              <a:schemeClr val="accent1"/>
            </a:solidFill>
            <a:prstDash val="solid"/>
            <a:miter lim="800000"/>
            <a:headEnd type="none" w="sm" len="sm"/>
            <a:tailEnd type="none" w="sm" len="sm"/>
          </a:ln>
        </p:spPr>
      </p:cxnSp>
      <p:cxnSp>
        <p:nvCxnSpPr>
          <p:cNvPr id="383" name="Google Shape;383;p9"/>
          <p:cNvCxnSpPr>
            <a:stCxn id="357" idx="2"/>
            <a:endCxn id="358" idx="0"/>
          </p:cNvCxnSpPr>
          <p:nvPr/>
        </p:nvCxnSpPr>
        <p:spPr>
          <a:xfrm>
            <a:off x="6096000" y="3316155"/>
            <a:ext cx="0" cy="335100"/>
          </a:xfrm>
          <a:prstGeom prst="straightConnector1">
            <a:avLst/>
          </a:prstGeom>
          <a:noFill/>
          <a:ln w="9525" cap="flat" cmpd="sng">
            <a:solidFill>
              <a:schemeClr val="accent2"/>
            </a:solidFill>
            <a:prstDash val="solid"/>
            <a:miter lim="800000"/>
            <a:headEnd type="none" w="sm" len="sm"/>
            <a:tailEnd type="none" w="sm" len="sm"/>
          </a:ln>
        </p:spPr>
      </p:cxnSp>
      <p:cxnSp>
        <p:nvCxnSpPr>
          <p:cNvPr id="384" name="Google Shape;384;p9"/>
          <p:cNvCxnSpPr/>
          <p:nvPr/>
        </p:nvCxnSpPr>
        <p:spPr>
          <a:xfrm flipV="1">
            <a:off x="6766560" y="3483705"/>
            <a:ext cx="905394" cy="7620"/>
          </a:xfrm>
          <a:prstGeom prst="straightConnector1">
            <a:avLst/>
          </a:prstGeom>
          <a:noFill/>
          <a:ln w="9525" cap="flat" cmpd="sng">
            <a:solidFill>
              <a:schemeClr val="accent1"/>
            </a:solidFill>
            <a:prstDash val="dash"/>
            <a:miter lim="800000"/>
            <a:headEnd type="none" w="sm" len="sm"/>
            <a:tailEnd type="none" w="sm" len="sm"/>
          </a:ln>
        </p:spPr>
      </p:cxnSp>
      <p:cxnSp>
        <p:nvCxnSpPr>
          <p:cNvPr id="385" name="Google Shape;385;p9"/>
          <p:cNvCxnSpPr/>
          <p:nvPr/>
        </p:nvCxnSpPr>
        <p:spPr>
          <a:xfrm rot="10800000">
            <a:off x="7671954" y="3764804"/>
            <a:ext cx="375805" cy="0"/>
          </a:xfrm>
          <a:prstGeom prst="straightConnector1">
            <a:avLst/>
          </a:prstGeom>
          <a:noFill/>
          <a:ln w="9525" cap="flat" cmpd="sng">
            <a:solidFill>
              <a:schemeClr val="accent1"/>
            </a:solidFill>
            <a:prstDash val="dash"/>
            <a:miter lim="800000"/>
            <a:headEnd type="none" w="sm" len="sm"/>
            <a:tailEnd type="none" w="sm" len="sm"/>
          </a:ln>
        </p:spPr>
      </p:cxnSp>
      <p:cxnSp>
        <p:nvCxnSpPr>
          <p:cNvPr id="386" name="Google Shape;386;p9"/>
          <p:cNvCxnSpPr/>
          <p:nvPr/>
        </p:nvCxnSpPr>
        <p:spPr>
          <a:xfrm rot="10800000">
            <a:off x="7671954" y="3483705"/>
            <a:ext cx="0" cy="278282"/>
          </a:xfrm>
          <a:prstGeom prst="straightConnector1">
            <a:avLst/>
          </a:prstGeom>
          <a:noFill/>
          <a:ln w="9525" cap="flat" cmpd="sng">
            <a:solidFill>
              <a:schemeClr val="accent1"/>
            </a:solidFill>
            <a:prstDash val="dash"/>
            <a:miter lim="800000"/>
            <a:headEnd type="none" w="sm" len="sm"/>
            <a:tailEnd type="none" w="sm" len="sm"/>
          </a:ln>
        </p:spPr>
      </p:cxnSp>
      <p:cxnSp>
        <p:nvCxnSpPr>
          <p:cNvPr id="387" name="Google Shape;387;p9"/>
          <p:cNvCxnSpPr/>
          <p:nvPr/>
        </p:nvCxnSpPr>
        <p:spPr>
          <a:xfrm>
            <a:off x="7296150" y="3962042"/>
            <a:ext cx="751609" cy="0"/>
          </a:xfrm>
          <a:prstGeom prst="straightConnector1">
            <a:avLst/>
          </a:prstGeom>
          <a:noFill/>
          <a:ln w="9525" cap="flat" cmpd="sng">
            <a:solidFill>
              <a:schemeClr val="accent1"/>
            </a:solidFill>
            <a:prstDash val="solid"/>
            <a:miter lim="800000"/>
            <a:headEnd type="none" w="sm" len="sm"/>
            <a:tailEnd type="none" w="sm" len="sm"/>
          </a:ln>
        </p:spPr>
      </p:cxnSp>
      <p:cxnSp>
        <p:nvCxnSpPr>
          <p:cNvPr id="388" name="Google Shape;388;p9"/>
          <p:cNvCxnSpPr/>
          <p:nvPr/>
        </p:nvCxnSpPr>
        <p:spPr>
          <a:xfrm>
            <a:off x="4144241" y="3962042"/>
            <a:ext cx="751609" cy="0"/>
          </a:xfrm>
          <a:prstGeom prst="straightConnector1">
            <a:avLst/>
          </a:prstGeom>
          <a:noFill/>
          <a:ln w="9525" cap="flat" cmpd="sng">
            <a:solidFill>
              <a:schemeClr val="accent1"/>
            </a:solidFill>
            <a:prstDash val="solid"/>
            <a:miter lim="800000"/>
            <a:headEnd type="none" w="sm" len="sm"/>
            <a:tailEnd type="none" w="sm" len="sm"/>
          </a:ln>
        </p:spPr>
      </p:cxnSp>
      <p:cxnSp>
        <p:nvCxnSpPr>
          <p:cNvPr id="389" name="Google Shape;389;p9"/>
          <p:cNvCxnSpPr>
            <a:stCxn id="358" idx="2"/>
            <a:endCxn id="366" idx="0"/>
          </p:cNvCxnSpPr>
          <p:nvPr/>
        </p:nvCxnSpPr>
        <p:spPr>
          <a:xfrm>
            <a:off x="6096000" y="4272829"/>
            <a:ext cx="0" cy="1291800"/>
          </a:xfrm>
          <a:prstGeom prst="straightConnector1">
            <a:avLst/>
          </a:prstGeom>
          <a:noFill/>
          <a:ln w="9525" cap="flat" cmpd="sng">
            <a:solidFill>
              <a:schemeClr val="accent2"/>
            </a:solidFill>
            <a:prstDash val="solid"/>
            <a:miter lim="800000"/>
            <a:headEnd type="none" w="sm" len="sm"/>
            <a:tailEnd type="none" w="sm" len="sm"/>
          </a:ln>
        </p:spPr>
      </p:cxnSp>
      <p:cxnSp>
        <p:nvCxnSpPr>
          <p:cNvPr id="390" name="Google Shape;390;p9"/>
          <p:cNvCxnSpPr/>
          <p:nvPr/>
        </p:nvCxnSpPr>
        <p:spPr>
          <a:xfrm>
            <a:off x="1803689" y="4498435"/>
            <a:ext cx="8584623" cy="0"/>
          </a:xfrm>
          <a:prstGeom prst="straightConnector1">
            <a:avLst/>
          </a:prstGeom>
          <a:noFill/>
          <a:ln w="9525" cap="flat" cmpd="sng">
            <a:solidFill>
              <a:schemeClr val="accent2"/>
            </a:solidFill>
            <a:prstDash val="solid"/>
            <a:miter lim="800000"/>
            <a:headEnd type="none" w="sm" len="sm"/>
            <a:tailEnd type="none" w="sm" len="sm"/>
          </a:ln>
        </p:spPr>
      </p:cxnSp>
      <p:cxnSp>
        <p:nvCxnSpPr>
          <p:cNvPr id="391" name="Google Shape;391;p9"/>
          <p:cNvCxnSpPr/>
          <p:nvPr/>
        </p:nvCxnSpPr>
        <p:spPr>
          <a:xfrm>
            <a:off x="10388312"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2" name="Google Shape;392;p9"/>
          <p:cNvCxnSpPr/>
          <p:nvPr/>
        </p:nvCxnSpPr>
        <p:spPr>
          <a:xfrm>
            <a:off x="7526771"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3" name="Google Shape;393;p9"/>
          <p:cNvCxnSpPr/>
          <p:nvPr/>
        </p:nvCxnSpPr>
        <p:spPr>
          <a:xfrm>
            <a:off x="4665230"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4" name="Google Shape;394;p9"/>
          <p:cNvCxnSpPr/>
          <p:nvPr/>
        </p:nvCxnSpPr>
        <p:spPr>
          <a:xfrm>
            <a:off x="1803689"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5" name="Google Shape;395;p9"/>
          <p:cNvCxnSpPr/>
          <p:nvPr/>
        </p:nvCxnSpPr>
        <p:spPr>
          <a:xfrm>
            <a:off x="8949921" y="4486189"/>
            <a:ext cx="7620" cy="1078413"/>
          </a:xfrm>
          <a:prstGeom prst="straightConnector1">
            <a:avLst/>
          </a:prstGeom>
          <a:noFill/>
          <a:ln w="9525" cap="flat" cmpd="sng">
            <a:solidFill>
              <a:schemeClr val="accent2"/>
            </a:solidFill>
            <a:prstDash val="solid"/>
            <a:miter lim="800000"/>
            <a:headEnd type="none" w="sm" len="sm"/>
            <a:tailEnd type="none" w="sm" len="sm"/>
          </a:ln>
        </p:spPr>
      </p:cxnSp>
      <p:cxnSp>
        <p:nvCxnSpPr>
          <p:cNvPr id="396" name="Google Shape;396;p9"/>
          <p:cNvCxnSpPr/>
          <p:nvPr/>
        </p:nvCxnSpPr>
        <p:spPr>
          <a:xfrm flipH="1">
            <a:off x="3234459" y="4493809"/>
            <a:ext cx="7620" cy="1070793"/>
          </a:xfrm>
          <a:prstGeom prst="straightConnector1">
            <a:avLst/>
          </a:prstGeom>
          <a:noFill/>
          <a:ln w="9525" cap="flat" cmpd="sng">
            <a:solidFill>
              <a:schemeClr val="accent2"/>
            </a:solidFill>
            <a:prstDash val="solid"/>
            <a:miter lim="800000"/>
            <a:headEnd type="none" w="sm" len="sm"/>
            <a:tailEnd type="none" w="sm" len="sm"/>
          </a:ln>
        </p:spPr>
      </p:cxnSp>
      <p:cxnSp>
        <p:nvCxnSpPr>
          <p:cNvPr id="2" name="Google Shape;386;p9">
            <a:extLst>
              <a:ext uri="{FF2B5EF4-FFF2-40B4-BE49-F238E27FC236}">
                <a16:creationId xmlns:a16="http://schemas.microsoft.com/office/drawing/2014/main" id="{8F6EF5CC-FF91-B476-82D5-4F221ECF5F5C}"/>
              </a:ext>
            </a:extLst>
          </p:cNvPr>
          <p:cNvCxnSpPr>
            <a:cxnSpLocks/>
          </p:cNvCxnSpPr>
          <p:nvPr/>
        </p:nvCxnSpPr>
        <p:spPr>
          <a:xfrm flipV="1">
            <a:off x="6765173" y="3316064"/>
            <a:ext cx="7620" cy="163982"/>
          </a:xfrm>
          <a:prstGeom prst="straightConnector1">
            <a:avLst/>
          </a:prstGeom>
          <a:noFill/>
          <a:ln w="9525" cap="flat" cmpd="sng">
            <a:solidFill>
              <a:schemeClr val="accent1"/>
            </a:solidFill>
            <a:prstDash val="dash"/>
            <a:miter lim="800000"/>
            <a:headEnd type="none" w="sm" len="sm"/>
            <a:tailEnd type="none" w="sm" len="sm"/>
          </a:ln>
        </p:spPr>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heme/theme1.xml><?xml version="1.0" encoding="utf-8"?>
<a:theme xmlns:a="http://schemas.openxmlformats.org/drawingml/2006/main" name="Office Theme">
  <a:themeElements>
    <a:clrScheme name="Custom 44">
      <a:dk1>
        <a:srgbClr val="000000"/>
      </a:dk1>
      <a:lt1>
        <a:srgbClr val="FFFFFF"/>
      </a:lt1>
      <a:dk2>
        <a:srgbClr val="000000"/>
      </a:dk2>
      <a:lt2>
        <a:srgbClr val="FFFAED"/>
      </a:lt2>
      <a:accent1>
        <a:srgbClr val="094897"/>
      </a:accent1>
      <a:accent2>
        <a:srgbClr val="0000E7"/>
      </a:accent2>
      <a:accent3>
        <a:srgbClr val="A54932"/>
      </a:accent3>
      <a:accent4>
        <a:srgbClr val="DCD6CA"/>
      </a:accent4>
      <a:accent5>
        <a:srgbClr val="DFC072"/>
      </a:accent5>
      <a:accent6>
        <a:srgbClr val="111115"/>
      </a:accent6>
      <a:hlink>
        <a:srgbClr val="FEFEE8"/>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ustom 44">
      <a:dk1>
        <a:srgbClr val="000000"/>
      </a:dk1>
      <a:lt1>
        <a:srgbClr val="FFFFFF"/>
      </a:lt1>
      <a:dk2>
        <a:srgbClr val="000000"/>
      </a:dk2>
      <a:lt2>
        <a:srgbClr val="FFFAED"/>
      </a:lt2>
      <a:accent1>
        <a:srgbClr val="094897"/>
      </a:accent1>
      <a:accent2>
        <a:srgbClr val="0000E7"/>
      </a:accent2>
      <a:accent3>
        <a:srgbClr val="A54932"/>
      </a:accent3>
      <a:accent4>
        <a:srgbClr val="DCD6CA"/>
      </a:accent4>
      <a:accent5>
        <a:srgbClr val="DFC072"/>
      </a:accent5>
      <a:accent6>
        <a:srgbClr val="111115"/>
      </a:accent6>
      <a:hlink>
        <a:srgbClr val="FEFEE8"/>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72d73cdb-a6d0-4e75-a260-a6042340a1fb">
      <UserInfo>
        <DisplayName>Belinda Mort</DisplayName>
        <AccountId>12</AccountId>
        <AccountType/>
      </UserInfo>
      <UserInfo>
        <DisplayName>Secretariat</DisplayName>
        <AccountId>62</AccountId>
        <AccountType/>
      </UserInfo>
    </SharedWithUsers>
    <lcf76f155ced4ddcb4097134ff3c332f xmlns="b6bc37b6-6ede-4240-b42f-31728e5a51b5">
      <Terms xmlns="http://schemas.microsoft.com/office/infopath/2007/PartnerControls"/>
    </lcf76f155ced4ddcb4097134ff3c332f>
    <TaxCatchAll xmlns="72d73cdb-a6d0-4e75-a260-a6042340a1f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575C9BCFC987843A805655CC9CFF891" ma:contentTypeVersion="14" ma:contentTypeDescription="Create a new document." ma:contentTypeScope="" ma:versionID="287609d8e76b3cd9aadeed40bbab7331">
  <xsd:schema xmlns:xsd="http://www.w3.org/2001/XMLSchema" xmlns:xs="http://www.w3.org/2001/XMLSchema" xmlns:p="http://schemas.microsoft.com/office/2006/metadata/properties" xmlns:ns2="b6bc37b6-6ede-4240-b42f-31728e5a51b5" xmlns:ns3="72d73cdb-a6d0-4e75-a260-a6042340a1fb" targetNamespace="http://schemas.microsoft.com/office/2006/metadata/properties" ma:root="true" ma:fieldsID="98603b1247220cfc43d27ddf815dc1f0" ns2:_="" ns3:_="">
    <xsd:import namespace="b6bc37b6-6ede-4240-b42f-31728e5a51b5"/>
    <xsd:import namespace="72d73cdb-a6d0-4e75-a260-a6042340a1f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bc37b6-6ede-4240-b42f-31728e5a51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4b8cf60-2892-4300-9e53-033a9a8d6ce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2d73cdb-a6d0-4e75-a260-a6042340a1f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662a43c-a775-45d8-abad-6600320a2325}" ma:internalName="TaxCatchAll" ma:showField="CatchAllData" ma:web="72d73cdb-a6d0-4e75-a260-a6042340a1fb">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C79DB52-4FAB-4EE8-B4CE-101E88661C46}">
  <ds:schemaRefs>
    <ds:schemaRef ds:uri="http://schemas.microsoft.com/sharepoint/v3/contenttype/forms"/>
  </ds:schemaRefs>
</ds:datastoreItem>
</file>

<file path=customXml/itemProps2.xml><?xml version="1.0" encoding="utf-8"?>
<ds:datastoreItem xmlns:ds="http://schemas.openxmlformats.org/officeDocument/2006/customXml" ds:itemID="{BD89D5B0-1982-4975-9BE2-87085CC5F4AD}">
  <ds:schemaRefs>
    <ds:schemaRef ds:uri="72d73cdb-a6d0-4e75-a260-a6042340a1fb"/>
    <ds:schemaRef ds:uri="b6bc37b6-6ede-4240-b42f-31728e5a51b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69F44D9-C52A-4BB5-8139-1CD66E589DC1}">
  <ds:schemaRefs>
    <ds:schemaRef ds:uri="72d73cdb-a6d0-4e75-a260-a6042340a1fb"/>
    <ds:schemaRef ds:uri="b6bc37b6-6ede-4240-b42f-31728e5a51b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86</TotalTime>
  <Words>4159</Words>
  <Application>Microsoft Office PowerPoint</Application>
  <PresentationFormat>Widescreen</PresentationFormat>
  <Paragraphs>553</Paragraphs>
  <Slides>41</Slides>
  <Notes>40</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41</vt:i4>
      </vt:variant>
    </vt:vector>
  </HeadingPairs>
  <TitlesOfParts>
    <vt:vector size="54" baseType="lpstr">
      <vt:lpstr>Noto Sans Symbols</vt:lpstr>
      <vt:lpstr>Calibri</vt:lpstr>
      <vt:lpstr>Poppins</vt:lpstr>
      <vt:lpstr>Courier New</vt:lpstr>
      <vt:lpstr>Poppins Light</vt:lpstr>
      <vt:lpstr>Raleway</vt:lpstr>
      <vt:lpstr>Open Sans</vt:lpstr>
      <vt:lpstr>Roboto</vt:lpstr>
      <vt:lpstr>Times New Roman</vt:lpstr>
      <vt:lpstr>Montserrat</vt:lpstr>
      <vt:lpstr>Arial</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 P</dc:creator>
  <cp:lastModifiedBy>Rose De Rota</cp:lastModifiedBy>
  <cp:revision>60</cp:revision>
  <dcterms:created xsi:type="dcterms:W3CDTF">2019-03-22T16:13:54Z</dcterms:created>
  <dcterms:modified xsi:type="dcterms:W3CDTF">2025-06-22T22:4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4-02-09T21:48:51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91e352c8-e964-4d5b-8f9d-3718b756ea5e</vt:lpwstr>
  </property>
  <property fmtid="{D5CDD505-2E9C-101B-9397-08002B2CF9AE}" pid="7" name="MSIP_Label_defa4170-0d19-0005-0004-bc88714345d2_ActionId">
    <vt:lpwstr>29a29abc-d92e-41f3-ae3b-d168c633f03d</vt:lpwstr>
  </property>
  <property fmtid="{D5CDD505-2E9C-101B-9397-08002B2CF9AE}" pid="8" name="MSIP_Label_defa4170-0d19-0005-0004-bc88714345d2_ContentBits">
    <vt:lpwstr>0</vt:lpwstr>
  </property>
  <property fmtid="{D5CDD505-2E9C-101B-9397-08002B2CF9AE}" pid="9" name="ContentTypeId">
    <vt:lpwstr>0x0101001575C9BCFC987843A805655CC9CFF891</vt:lpwstr>
  </property>
  <property fmtid="{D5CDD505-2E9C-101B-9397-08002B2CF9AE}" pid="10" name="MediaServiceImageTags">
    <vt:lpwstr/>
  </property>
</Properties>
</file>